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63"/>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EF7B81D2-BDAB-46D4-976B-E2C1D87B2566}">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notesMaster" Target="notesMasters/notesMaster1.xml"/><Relationship Id="rId64" Type="http://schemas.openxmlformats.org/officeDocument/2006/relationships/presProps" Target="presProps.xml"/><Relationship Id="rId65" Type="http://schemas.openxmlformats.org/officeDocument/2006/relationships/viewProps" Target="viewProps.xml"/><Relationship Id="rId66" Type="http://schemas.openxmlformats.org/officeDocument/2006/relationships/theme" Target="theme/theme1.xml"/><Relationship Id="rId67" Type="http://schemas.openxmlformats.org/officeDocument/2006/relationships/tableStyles" Target="tableStyles.xml"/><Relationship Id="rId68" Type="http://schemas.microsoft.com/office/2015/10/relationships/revisionInfo" Target="revisionInfo.xml"/><Relationship Id="rId6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50ML</c:v>
                </c:pt>
                <c:pt idx="1">
                  <c:v>100ML</c:v>
                </c:pt>
                <c:pt idx="2">
                  <c:v>180ML</c:v>
                </c:pt>
              </c:strCache>
            </c:strRef>
          </c:cat>
          <c:val>
            <c:numRef>
              <c:f>Sheet1!$B$2:$B$4</c:f>
              <c:numCache>
                <c:formatCode>General</c:formatCode>
                <c:ptCount val="3"/>
                <c:pt idx="0">
                  <c:v>28.63286</c:v>
                </c:pt>
                <c:pt idx="1">
                  <c:v>2.19959</c:v>
                </c:pt>
                <c:pt idx="2">
                  <c:v>0.0662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9.88</a:t>
                    </a:r>
                  </a:p>
                </c:rich>
              </c:tx>
              <c:dLblPos val="t"/>
              <c:showLegendKey val="0"/>
              <c:showVal val="1"/>
              <c:showCatName val="0"/>
              <c:showSerName val="0"/>
              <c:showPercent val="0"/>
              <c:showBubbleSize val="0"/>
            </c:dLbl>
            <c:dLbl>
              <c:idx val="1"/>
              <c:tx>
                <c:rich>
                  <a:bodyPr/>
                  <a:lstStyle/>
                  <a:p>
                    <a:r>
                      <a:t>242.37</a:t>
                    </a:r>
                  </a:p>
                </c:rich>
              </c:tx>
              <c:dLblPos val="t"/>
              <c:showLegendKey val="0"/>
              <c:showVal val="1"/>
              <c:showCatName val="0"/>
              <c:showSerName val="0"/>
              <c:showPercent val="0"/>
              <c:showBubbleSize val="0"/>
            </c:dLbl>
            <c:dLbl>
              <c:idx val="2"/>
              <c:tx>
                <c:rich>
                  <a:bodyPr/>
                  <a:lstStyle/>
                  <a:p>
                    <a:r>
                      <a:t>405.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50ML</c:v>
                </c:pt>
                <c:pt idx="1">
                  <c:v>100ML</c:v>
                </c:pt>
                <c:pt idx="2">
                  <c:v>180ML</c:v>
                </c:pt>
              </c:strCache>
            </c:strRef>
          </c:cat>
          <c:val>
            <c:numRef>
              <c:f>Sheet1!$C$2:$C$4</c:f>
              <c:numCache>
                <c:formatCode>General</c:formatCode>
                <c:ptCount val="3"/>
                <c:pt idx="0">
                  <c:v>269.8821</c:v>
                </c:pt>
                <c:pt idx="1">
                  <c:v>242.3734</c:v>
                </c:pt>
                <c:pt idx="2">
                  <c:v>405.928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50ML</c:v>
                </c:pt>
                <c:pt idx="1">
                  <c:v>100ML</c:v>
                </c:pt>
                <c:pt idx="2">
                  <c:v>180ML</c:v>
                </c:pt>
              </c:strCache>
            </c:strRef>
          </c:cat>
          <c:val>
            <c:numRef>
              <c:f>Sheet1!$D$2:$D$4</c:f>
              <c:numCache>
                <c:formatCode>General</c:formatCode>
                <c:ptCount val="3"/>
                <c:pt idx="0">
                  <c:v>269.8821</c:v>
                </c:pt>
                <c:pt idx="1">
                  <c:v>539.7642</c:v>
                </c:pt>
                <c:pt idx="2">
                  <c:v>971.575559999999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5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50ML</c:v>
                </c:pt>
                <c:pt idx="1">
                  <c:v>100ML</c:v>
                </c:pt>
                <c:pt idx="2">
                  <c:v>180ML</c:v>
                </c:pt>
              </c:strCache>
            </c:strRef>
          </c:cat>
          <c:val>
            <c:numRef>
              <c:f>Sheet1!$E$2:$E$4</c:f>
              <c:numCache>
                <c:formatCode>General</c:formatCode>
                <c:ptCount val="3"/>
                <c:pt idx="0">
                  <c:v>269.8821</c:v>
                </c:pt>
                <c:pt idx="1">
                  <c:v>391.0688</c:v>
                </c:pt>
                <c:pt idx="2">
                  <c:v>688.7520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7.37007</c:v>
                </c:pt>
                <c:pt idx="1">
                  <c:v>4.702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7.83</a:t>
                    </a:r>
                  </a:p>
                </c:rich>
              </c:tx>
              <c:dLblPos val="t"/>
              <c:showLegendKey val="0"/>
              <c:showVal val="1"/>
              <c:showCatName val="0"/>
              <c:showSerName val="0"/>
              <c:showPercent val="0"/>
              <c:showBubbleSize val="0"/>
            </c:dLbl>
            <c:dLbl>
              <c:idx val="1"/>
              <c:tx>
                <c:rich>
                  <a:bodyPr/>
                  <a:lstStyle/>
                  <a:p>
                    <a:r>
                      <a:t>339.8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317.8274</c:v>
                </c:pt>
                <c:pt idx="1">
                  <c:v>339.891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317.8274</c:v>
                </c:pt>
                <c:pt idx="1">
                  <c:v>416.707035555555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317.8274</c:v>
                </c:pt>
                <c:pt idx="1">
                  <c:v>378.299267777777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60ML</c:v>
                </c:pt>
                <c:pt idx="1">
                  <c:v>180ML</c:v>
                </c:pt>
                <c:pt idx="2">
                  <c:v>240ML</c:v>
                </c:pt>
              </c:strCache>
            </c:strRef>
          </c:cat>
          <c:val>
            <c:numRef>
              <c:f>Sheet1!$B$2:$B$4</c:f>
              <c:numCache>
                <c:formatCode>General</c:formatCode>
                <c:ptCount val="3"/>
                <c:pt idx="0">
                  <c:v>22.96813</c:v>
                </c:pt>
                <c:pt idx="1">
                  <c:v>0.73016</c:v>
                </c:pt>
                <c:pt idx="2">
                  <c:v>25.690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1.75</a:t>
                    </a:r>
                  </a:p>
                </c:rich>
              </c:tx>
              <c:dLblPos val="t"/>
              <c:showLegendKey val="0"/>
              <c:showVal val="1"/>
              <c:showCatName val="0"/>
              <c:showSerName val="0"/>
              <c:showPercent val="0"/>
              <c:showBubbleSize val="0"/>
            </c:dLbl>
            <c:dLbl>
              <c:idx val="1"/>
              <c:tx>
                <c:rich>
                  <a:bodyPr/>
                  <a:lstStyle/>
                  <a:p>
                    <a:r>
                      <a:t>259.12</a:t>
                    </a:r>
                  </a:p>
                </c:rich>
              </c:tx>
              <c:dLblPos val="t"/>
              <c:showLegendKey val="0"/>
              <c:showVal val="1"/>
              <c:showCatName val="0"/>
              <c:showSerName val="0"/>
              <c:showPercent val="0"/>
              <c:showBubbleSize val="0"/>
            </c:dLbl>
            <c:dLbl>
              <c:idx val="2"/>
              <c:tx>
                <c:rich>
                  <a:bodyPr/>
                  <a:lstStyle/>
                  <a:p>
                    <a:r>
                      <a:t>330.5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60ML</c:v>
                </c:pt>
                <c:pt idx="1">
                  <c:v>180ML</c:v>
                </c:pt>
                <c:pt idx="2">
                  <c:v>240ML</c:v>
                </c:pt>
              </c:strCache>
            </c:strRef>
          </c:cat>
          <c:val>
            <c:numRef>
              <c:f>Sheet1!$C$2:$C$4</c:f>
              <c:numCache>
                <c:formatCode>General</c:formatCode>
                <c:ptCount val="3"/>
                <c:pt idx="0">
                  <c:v>91.7478</c:v>
                </c:pt>
                <c:pt idx="1">
                  <c:v>259.1193</c:v>
                </c:pt>
                <c:pt idx="2">
                  <c:v>330.544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60ML</c:v>
                </c:pt>
                <c:pt idx="1">
                  <c:v>180ML</c:v>
                </c:pt>
                <c:pt idx="2">
                  <c:v>240ML</c:v>
                </c:pt>
              </c:strCache>
            </c:strRef>
          </c:cat>
          <c:val>
            <c:numRef>
              <c:f>Sheet1!$D$2:$D$4</c:f>
              <c:numCache>
                <c:formatCode>General</c:formatCode>
                <c:ptCount val="3"/>
                <c:pt idx="0">
                  <c:v>91.7478</c:v>
                </c:pt>
                <c:pt idx="1">
                  <c:v>275.24339999999995</c:v>
                </c:pt>
                <c:pt idx="2">
                  <c:v>366.991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60ML</c:v>
                </c:pt>
                <c:pt idx="1">
                  <c:v>180ML</c:v>
                </c:pt>
                <c:pt idx="2">
                  <c:v>240ML</c:v>
                </c:pt>
              </c:strCache>
            </c:strRef>
          </c:cat>
          <c:val>
            <c:numRef>
              <c:f>Sheet1!$E$2:$E$4</c:f>
              <c:numCache>
                <c:formatCode>General</c:formatCode>
                <c:ptCount val="3"/>
                <c:pt idx="0">
                  <c:v>91.7478</c:v>
                </c:pt>
                <c:pt idx="1">
                  <c:v>267.18134999999995</c:v>
                </c:pt>
                <c:pt idx="2">
                  <c:v>348.7677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180ML</c:v>
                </c:pt>
              </c:strCache>
            </c:strRef>
          </c:cat>
          <c:val>
            <c:numRef>
              <c:f>Sheet1!$B$2:$B$3</c:f>
              <c:numCache>
                <c:formatCode>General</c:formatCode>
                <c:ptCount val="2"/>
                <c:pt idx="0">
                  <c:v>31.32796</c:v>
                </c:pt>
                <c:pt idx="1">
                  <c:v>0.0621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38.68</a:t>
                    </a:r>
                  </a:p>
                </c:rich>
              </c:tx>
              <c:dLblPos val="t"/>
              <c:showLegendKey val="0"/>
              <c:showVal val="1"/>
              <c:showCatName val="0"/>
              <c:showSerName val="0"/>
              <c:showPercent val="0"/>
              <c:showBubbleSize val="0"/>
            </c:dLbl>
            <c:dLbl>
              <c:idx val="1"/>
              <c:tx>
                <c:rich>
                  <a:bodyPr/>
                  <a:lstStyle/>
                  <a:p>
                    <a:r>
                      <a:t>265.0</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180ML</c:v>
                </c:pt>
              </c:strCache>
            </c:strRef>
          </c:cat>
          <c:val>
            <c:numRef>
              <c:f>Sheet1!$C$2:$C$3</c:f>
              <c:numCache>
                <c:formatCode>General</c:formatCode>
                <c:ptCount val="2"/>
                <c:pt idx="0">
                  <c:v>338.6838</c:v>
                </c:pt>
                <c:pt idx="1">
                  <c:v>265.0</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180ML</c:v>
                </c:pt>
              </c:strCache>
            </c:strRef>
          </c:cat>
          <c:val>
            <c:numRef>
              <c:f>Sheet1!$D$2:$D$3</c:f>
              <c:numCache>
                <c:formatCode>General</c:formatCode>
                <c:ptCount val="2"/>
                <c:pt idx="0">
                  <c:v>338.6838</c:v>
                </c:pt>
                <c:pt idx="1">
                  <c:v>358.6063764705882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180ML</c:v>
                </c:pt>
              </c:strCache>
            </c:strRef>
          </c:cat>
          <c:val>
            <c:numRef>
              <c:f>Sheet1!$E$2:$E$3</c:f>
              <c:numCache>
                <c:formatCode>General</c:formatCode>
                <c:ptCount val="2"/>
                <c:pt idx="0">
                  <c:v>338.6838</c:v>
                </c:pt>
                <c:pt idx="1">
                  <c:v>311.803188235294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32.6135</c:v>
                </c:pt>
                <c:pt idx="1">
                  <c:v>1.6172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59.68</a:t>
                    </a:r>
                  </a:p>
                </c:rich>
              </c:tx>
              <c:dLblPos val="t"/>
              <c:showLegendKey val="0"/>
              <c:showVal val="1"/>
              <c:showCatName val="0"/>
              <c:showSerName val="0"/>
              <c:showPercent val="0"/>
              <c:showBubbleSize val="0"/>
            </c:dLbl>
            <c:dLbl>
              <c:idx val="1"/>
              <c:tx>
                <c:rich>
                  <a:bodyPr/>
                  <a:lstStyle/>
                  <a:p>
                    <a:r>
                      <a:t>373.7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359.6767</c:v>
                </c:pt>
                <c:pt idx="1">
                  <c:v>373.767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359.6767</c:v>
                </c:pt>
                <c:pt idx="1">
                  <c:v>471.5761177777777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359.6767</c:v>
                </c:pt>
                <c:pt idx="1">
                  <c:v>422.671908888888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5.38139</c:v>
                </c:pt>
                <c:pt idx="1">
                  <c:v>63.4961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59.59</a:t>
                    </a:r>
                  </a:p>
                </c:rich>
              </c:tx>
              <c:dLblPos val="t"/>
              <c:showLegendKey val="0"/>
              <c:showVal val="1"/>
              <c:showCatName val="0"/>
              <c:showSerName val="0"/>
              <c:showPercent val="0"/>
              <c:showBubbleSize val="0"/>
            </c:dLbl>
            <c:dLbl>
              <c:idx val="1"/>
              <c:tx>
                <c:rich>
                  <a:bodyPr/>
                  <a:lstStyle/>
                  <a:p>
                    <a:r>
                      <a:t>348.8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359.5928</c:v>
                </c:pt>
                <c:pt idx="1">
                  <c:v>348.860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66.0798898305085</c:v>
                </c:pt>
                <c:pt idx="1">
                  <c:v>348.86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312.83634491525424</c:v>
                </c:pt>
                <c:pt idx="1">
                  <c:v>348.860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2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220ML</c:v>
                </c:pt>
              </c:strCache>
            </c:strRef>
          </c:cat>
          <c:val>
            <c:numRef>
              <c:f>Sheet1!$B$2:$B$3</c:f>
              <c:numCache>
                <c:formatCode>General</c:formatCode>
                <c:ptCount val="2"/>
                <c:pt idx="0">
                  <c:v>0.11148</c:v>
                </c:pt>
                <c:pt idx="1">
                  <c:v>25.3579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26.51</a:t>
                    </a:r>
                  </a:p>
                </c:rich>
              </c:tx>
              <c:dLblPos val="t"/>
              <c:showLegendKey val="0"/>
              <c:showVal val="1"/>
              <c:showCatName val="0"/>
              <c:showSerName val="0"/>
              <c:showPercent val="0"/>
              <c:showBubbleSize val="0"/>
            </c:dLbl>
            <c:dLbl>
              <c:idx val="1"/>
              <c:tx>
                <c:rich>
                  <a:bodyPr/>
                  <a:lstStyle/>
                  <a:p>
                    <a:r>
                      <a:t>329.1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220ML</c:v>
                </c:pt>
              </c:strCache>
            </c:strRef>
          </c:cat>
          <c:val>
            <c:numRef>
              <c:f>Sheet1!$C$2:$C$3</c:f>
              <c:numCache>
                <c:formatCode>General</c:formatCode>
                <c:ptCount val="2"/>
                <c:pt idx="0">
                  <c:v>326.5143</c:v>
                </c:pt>
                <c:pt idx="1">
                  <c:v>329.191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220ML</c:v>
                </c:pt>
              </c:strCache>
            </c:strRef>
          </c:cat>
          <c:val>
            <c:numRef>
              <c:f>Sheet1!$D$2:$D$3</c:f>
              <c:numCache>
                <c:formatCode>General</c:formatCode>
                <c:ptCount val="2"/>
                <c:pt idx="0">
                  <c:v>254.37548181818184</c:v>
                </c:pt>
                <c:pt idx="1">
                  <c:v>329.191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220ML</c:v>
                </c:pt>
              </c:strCache>
            </c:strRef>
          </c:cat>
          <c:val>
            <c:numRef>
              <c:f>Sheet1!$E$2:$E$3</c:f>
              <c:numCache>
                <c:formatCode>General</c:formatCode>
                <c:ptCount val="2"/>
                <c:pt idx="0">
                  <c:v>290.44489090909093</c:v>
                </c:pt>
                <c:pt idx="1">
                  <c:v>329.191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180ML</c:v>
                </c:pt>
              </c:strCache>
            </c:strRef>
          </c:cat>
          <c:val>
            <c:numRef>
              <c:f>Sheet1!$B$2:$B$3</c:f>
              <c:numCache>
                <c:formatCode>General</c:formatCode>
                <c:ptCount val="2"/>
                <c:pt idx="0">
                  <c:v>9.25104</c:v>
                </c:pt>
                <c:pt idx="1">
                  <c:v>14.295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8.14</a:t>
                    </a:r>
                  </a:p>
                </c:rich>
              </c:tx>
              <c:dLblPos val="t"/>
              <c:showLegendKey val="0"/>
              <c:showVal val="1"/>
              <c:showCatName val="0"/>
              <c:showSerName val="0"/>
              <c:showPercent val="0"/>
              <c:showBubbleSize val="0"/>
            </c:dLbl>
            <c:dLbl>
              <c:idx val="1"/>
              <c:tx>
                <c:rich>
                  <a:bodyPr/>
                  <a:lstStyle/>
                  <a:p>
                    <a:r>
                      <a:t>358.0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180ML</c:v>
                </c:pt>
              </c:strCache>
            </c:strRef>
          </c:cat>
          <c:val>
            <c:numRef>
              <c:f>Sheet1!$C$2:$C$3</c:f>
              <c:numCache>
                <c:formatCode>General</c:formatCode>
                <c:ptCount val="2"/>
                <c:pt idx="0">
                  <c:v>88.1362</c:v>
                </c:pt>
                <c:pt idx="1">
                  <c:v>358.046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180ML</c:v>
                </c:pt>
              </c:strCache>
            </c:strRef>
          </c:cat>
          <c:val>
            <c:numRef>
              <c:f>Sheet1!$D$2:$D$3</c:f>
              <c:numCache>
                <c:formatCode>General</c:formatCode>
                <c:ptCount val="2"/>
                <c:pt idx="0">
                  <c:v>88.1362</c:v>
                </c:pt>
                <c:pt idx="1">
                  <c:v>264.408600000000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180ML</c:v>
                </c:pt>
              </c:strCache>
            </c:strRef>
          </c:cat>
          <c:val>
            <c:numRef>
              <c:f>Sheet1!$E$2:$E$3</c:f>
              <c:numCache>
                <c:formatCode>General</c:formatCode>
                <c:ptCount val="2"/>
                <c:pt idx="0">
                  <c:v>88.1362</c:v>
                </c:pt>
                <c:pt idx="1">
                  <c:v>311.22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00ML</c:v>
                </c:pt>
                <c:pt idx="1">
                  <c:v>350ML</c:v>
                </c:pt>
              </c:strCache>
            </c:strRef>
          </c:cat>
          <c:val>
            <c:numRef>
              <c:f>Sheet1!$B$2:$B$3</c:f>
              <c:numCache>
                <c:formatCode>General</c:formatCode>
                <c:ptCount val="2"/>
                <c:pt idx="0">
                  <c:v>1.10927</c:v>
                </c:pt>
                <c:pt idx="1">
                  <c:v>0.1599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74.01</a:t>
                    </a:r>
                  </a:p>
                </c:rich>
              </c:tx>
              <c:dLblPos val="t"/>
              <c:showLegendKey val="0"/>
              <c:showVal val="1"/>
              <c:showCatName val="0"/>
              <c:showSerName val="0"/>
              <c:showPercent val="0"/>
              <c:showBubbleSize val="0"/>
            </c:dLbl>
            <c:dLbl>
              <c:idx val="1"/>
              <c:tx>
                <c:rich>
                  <a:bodyPr/>
                  <a:lstStyle/>
                  <a:p>
                    <a:r>
                      <a:t>458.6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00ML</c:v>
                </c:pt>
                <c:pt idx="1">
                  <c:v>350ML</c:v>
                </c:pt>
              </c:strCache>
            </c:strRef>
          </c:cat>
          <c:val>
            <c:numRef>
              <c:f>Sheet1!$C$2:$C$3</c:f>
              <c:numCache>
                <c:formatCode>General</c:formatCode>
                <c:ptCount val="2"/>
                <c:pt idx="0">
                  <c:v>374.0083</c:v>
                </c:pt>
                <c:pt idx="1">
                  <c:v>458.694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00ML</c:v>
                </c:pt>
                <c:pt idx="1">
                  <c:v>350ML</c:v>
                </c:pt>
              </c:strCache>
            </c:strRef>
          </c:cat>
          <c:val>
            <c:numRef>
              <c:f>Sheet1!$D$2:$D$3</c:f>
              <c:numCache>
                <c:formatCode>General</c:formatCode>
                <c:ptCount val="2"/>
                <c:pt idx="0">
                  <c:v>374.0083</c:v>
                </c:pt>
                <c:pt idx="1">
                  <c:v>436.343016666666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00ML</c:v>
                </c:pt>
                <c:pt idx="1">
                  <c:v>350ML</c:v>
                </c:pt>
              </c:strCache>
            </c:strRef>
          </c:cat>
          <c:val>
            <c:numRef>
              <c:f>Sheet1!$E$2:$E$3</c:f>
              <c:numCache>
                <c:formatCode>General</c:formatCode>
                <c:ptCount val="2"/>
                <c:pt idx="0">
                  <c:v>374.0083</c:v>
                </c:pt>
                <c:pt idx="1">
                  <c:v>447.5187083333333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50ML</c:v>
                </c:pt>
                <c:pt idx="1">
                  <c:v>100ML</c:v>
                </c:pt>
                <c:pt idx="2">
                  <c:v>180ML</c:v>
                </c:pt>
              </c:strCache>
            </c:strRef>
          </c:cat>
          <c:val>
            <c:numRef>
              <c:f>Sheet1!$B$2:$B$4</c:f>
              <c:numCache>
                <c:formatCode>General</c:formatCode>
                <c:ptCount val="3"/>
                <c:pt idx="0">
                  <c:v>30.00704</c:v>
                </c:pt>
                <c:pt idx="1">
                  <c:v>2.19995</c:v>
                </c:pt>
                <c:pt idx="2">
                  <c:v>0.0662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0.1</a:t>
                    </a:r>
                  </a:p>
                </c:rich>
              </c:tx>
              <c:dLblPos val="t"/>
              <c:showLegendKey val="0"/>
              <c:showVal val="1"/>
              <c:showCatName val="0"/>
              <c:showSerName val="0"/>
              <c:showPercent val="0"/>
              <c:showBubbleSize val="0"/>
            </c:dLbl>
            <c:dLbl>
              <c:idx val="1"/>
              <c:tx>
                <c:rich>
                  <a:bodyPr/>
                  <a:lstStyle/>
                  <a:p>
                    <a:r>
                      <a:t>238.78</a:t>
                    </a:r>
                  </a:p>
                </c:rich>
              </c:tx>
              <c:dLblPos val="t"/>
              <c:showLegendKey val="0"/>
              <c:showVal val="1"/>
              <c:showCatName val="0"/>
              <c:showSerName val="0"/>
              <c:showPercent val="0"/>
              <c:showBubbleSize val="0"/>
            </c:dLbl>
            <c:dLbl>
              <c:idx val="2"/>
              <c:tx>
                <c:rich>
                  <a:bodyPr/>
                  <a:lstStyle/>
                  <a:p>
                    <a:r>
                      <a:t>411.1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50ML</c:v>
                </c:pt>
                <c:pt idx="1">
                  <c:v>100ML</c:v>
                </c:pt>
                <c:pt idx="2">
                  <c:v>180ML</c:v>
                </c:pt>
              </c:strCache>
            </c:strRef>
          </c:cat>
          <c:val>
            <c:numRef>
              <c:f>Sheet1!$C$2:$C$4</c:f>
              <c:numCache>
                <c:formatCode>General</c:formatCode>
                <c:ptCount val="3"/>
                <c:pt idx="0">
                  <c:v>250.1019</c:v>
                </c:pt>
                <c:pt idx="1">
                  <c:v>238.7819</c:v>
                </c:pt>
                <c:pt idx="2">
                  <c:v>411.142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50ML</c:v>
                </c:pt>
                <c:pt idx="1">
                  <c:v>100ML</c:v>
                </c:pt>
                <c:pt idx="2">
                  <c:v>180ML</c:v>
                </c:pt>
              </c:strCache>
            </c:strRef>
          </c:cat>
          <c:val>
            <c:numRef>
              <c:f>Sheet1!$D$2:$D$4</c:f>
              <c:numCache>
                <c:formatCode>General</c:formatCode>
                <c:ptCount val="3"/>
                <c:pt idx="0">
                  <c:v>250.1019</c:v>
                </c:pt>
                <c:pt idx="1">
                  <c:v>500.2038</c:v>
                </c:pt>
                <c:pt idx="2">
                  <c:v>900.366839999999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5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50ML</c:v>
                </c:pt>
                <c:pt idx="1">
                  <c:v>100ML</c:v>
                </c:pt>
                <c:pt idx="2">
                  <c:v>180ML</c:v>
                </c:pt>
              </c:strCache>
            </c:strRef>
          </c:cat>
          <c:val>
            <c:numRef>
              <c:f>Sheet1!$E$2:$E$4</c:f>
              <c:numCache>
                <c:formatCode>General</c:formatCode>
                <c:ptCount val="3"/>
                <c:pt idx="0">
                  <c:v>250.1019</c:v>
                </c:pt>
                <c:pt idx="1">
                  <c:v>369.49285</c:v>
                </c:pt>
                <c:pt idx="2">
                  <c:v>655.7548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230ML</c:v>
                </c:pt>
                <c:pt idx="1">
                  <c:v>453ML</c:v>
                </c:pt>
                <c:pt idx="2">
                  <c:v>473ML</c:v>
                </c:pt>
              </c:strCache>
            </c:strRef>
          </c:cat>
          <c:val>
            <c:numRef>
              <c:f>Sheet1!$B$2:$B$4</c:f>
              <c:numCache>
                <c:formatCode>General</c:formatCode>
                <c:ptCount val="3"/>
                <c:pt idx="0">
                  <c:v>56.53193</c:v>
                </c:pt>
                <c:pt idx="1">
                  <c:v>0.51207</c:v>
                </c:pt>
                <c:pt idx="2">
                  <c:v>9.4918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48.93</a:t>
                    </a:r>
                  </a:p>
                </c:rich>
              </c:tx>
              <c:dLblPos val="t"/>
              <c:showLegendKey val="0"/>
              <c:showVal val="1"/>
              <c:showCatName val="0"/>
              <c:showSerName val="0"/>
              <c:showPercent val="0"/>
              <c:showBubbleSize val="0"/>
            </c:dLbl>
            <c:dLbl>
              <c:idx val="1"/>
              <c:tx>
                <c:rich>
                  <a:bodyPr/>
                  <a:lstStyle/>
                  <a:p>
                    <a:r>
                      <a:t>152.48</a:t>
                    </a:r>
                  </a:p>
                </c:rich>
              </c:tx>
              <c:dLblPos val="t"/>
              <c:showLegendKey val="0"/>
              <c:showVal val="1"/>
              <c:showCatName val="0"/>
              <c:showSerName val="0"/>
              <c:showPercent val="0"/>
              <c:showBubbleSize val="0"/>
            </c:dLbl>
            <c:dLbl>
              <c:idx val="2"/>
              <c:tx>
                <c:rich>
                  <a:bodyPr/>
                  <a:lstStyle/>
                  <a:p>
                    <a:r>
                      <a:t>160.3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30ML</c:v>
                </c:pt>
                <c:pt idx="1">
                  <c:v>453ML</c:v>
                </c:pt>
                <c:pt idx="2">
                  <c:v>473ML</c:v>
                </c:pt>
              </c:strCache>
            </c:strRef>
          </c:cat>
          <c:val>
            <c:numRef>
              <c:f>Sheet1!$C$2:$C$4</c:f>
              <c:numCache>
                <c:formatCode>General</c:formatCode>
                <c:ptCount val="3"/>
                <c:pt idx="0">
                  <c:v>148.9307</c:v>
                </c:pt>
                <c:pt idx="1">
                  <c:v>152.4805</c:v>
                </c:pt>
                <c:pt idx="2">
                  <c:v>160.343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230ML</c:v>
                </c:pt>
                <c:pt idx="1">
                  <c:v>453ML</c:v>
                </c:pt>
                <c:pt idx="2">
                  <c:v>473ML</c:v>
                </c:pt>
              </c:strCache>
            </c:strRef>
          </c:cat>
          <c:val>
            <c:numRef>
              <c:f>Sheet1!$D$2:$D$4</c:f>
              <c:numCache>
                <c:formatCode>General</c:formatCode>
                <c:ptCount val="3"/>
                <c:pt idx="0">
                  <c:v>148.9307</c:v>
                </c:pt>
                <c:pt idx="1">
                  <c:v>293.3287265217391</c:v>
                </c:pt>
                <c:pt idx="2">
                  <c:v>306.27922217391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4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230ML</c:v>
                </c:pt>
                <c:pt idx="1">
                  <c:v>453ML</c:v>
                </c:pt>
                <c:pt idx="2">
                  <c:v>473ML</c:v>
                </c:pt>
              </c:strCache>
            </c:strRef>
          </c:cat>
          <c:val>
            <c:numRef>
              <c:f>Sheet1!$E$2:$E$4</c:f>
              <c:numCache>
                <c:formatCode>General</c:formatCode>
                <c:ptCount val="3"/>
                <c:pt idx="0">
                  <c:v>148.9307</c:v>
                </c:pt>
                <c:pt idx="1">
                  <c:v>222.90461326086955</c:v>
                </c:pt>
                <c:pt idx="2">
                  <c:v>233.311561086956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1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90ML</c:v>
                </c:pt>
                <c:pt idx="1">
                  <c:v>120ML</c:v>
                </c:pt>
                <c:pt idx="2">
                  <c:v>240ML</c:v>
                </c:pt>
              </c:strCache>
            </c:strRef>
          </c:cat>
          <c:val>
            <c:numRef>
              <c:f>Sheet1!$B$2:$B$4</c:f>
              <c:numCache>
                <c:formatCode>General</c:formatCode>
                <c:ptCount val="3"/>
                <c:pt idx="0">
                  <c:v>0.01891</c:v>
                </c:pt>
                <c:pt idx="1">
                  <c:v>3.84042</c:v>
                </c:pt>
                <c:pt idx="2">
                  <c:v>102.7114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4.0</a:t>
                    </a:r>
                  </a:p>
                </c:rich>
              </c:tx>
              <c:dLblPos val="t"/>
              <c:showLegendKey val="0"/>
              <c:showVal val="1"/>
              <c:showCatName val="0"/>
              <c:showSerName val="0"/>
              <c:showPercent val="0"/>
              <c:showBubbleSize val="0"/>
            </c:dLbl>
            <c:dLbl>
              <c:idx val="1"/>
              <c:tx>
                <c:rich>
                  <a:bodyPr/>
                  <a:lstStyle/>
                  <a:p>
                    <a:r>
                      <a:t>194.85</a:t>
                    </a:r>
                  </a:p>
                </c:rich>
              </c:tx>
              <c:dLblPos val="t"/>
              <c:showLegendKey val="0"/>
              <c:showVal val="1"/>
              <c:showCatName val="0"/>
              <c:showSerName val="0"/>
              <c:showPercent val="0"/>
              <c:showBubbleSize val="0"/>
            </c:dLbl>
            <c:dLbl>
              <c:idx val="2"/>
              <c:tx>
                <c:rich>
                  <a:bodyPr/>
                  <a:lstStyle/>
                  <a:p>
                    <a:r>
                      <a:t>303.9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90ML</c:v>
                </c:pt>
                <c:pt idx="1">
                  <c:v>120ML</c:v>
                </c:pt>
                <c:pt idx="2">
                  <c:v>240ML</c:v>
                </c:pt>
              </c:strCache>
            </c:strRef>
          </c:cat>
          <c:val>
            <c:numRef>
              <c:f>Sheet1!$C$2:$C$4</c:f>
              <c:numCache>
                <c:formatCode>General</c:formatCode>
                <c:ptCount val="3"/>
                <c:pt idx="0">
                  <c:v>94.0</c:v>
                </c:pt>
                <c:pt idx="1">
                  <c:v>194.8507</c:v>
                </c:pt>
                <c:pt idx="2">
                  <c:v>303.958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90ML</c:v>
                </c:pt>
                <c:pt idx="1">
                  <c:v>120ML</c:v>
                </c:pt>
                <c:pt idx="2">
                  <c:v>240ML</c:v>
                </c:pt>
              </c:strCache>
            </c:strRef>
          </c:cat>
          <c:val>
            <c:numRef>
              <c:f>Sheet1!$D$2:$D$4</c:f>
              <c:numCache>
                <c:formatCode>General</c:formatCode>
                <c:ptCount val="3"/>
                <c:pt idx="0">
                  <c:v>113.98451250000001</c:v>
                </c:pt>
                <c:pt idx="1">
                  <c:v>151.97935</c:v>
                </c:pt>
                <c:pt idx="2">
                  <c:v>303.958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90ML</c:v>
                </c:pt>
                <c:pt idx="1">
                  <c:v>120ML</c:v>
                </c:pt>
                <c:pt idx="2">
                  <c:v>240ML</c:v>
                </c:pt>
              </c:strCache>
            </c:strRef>
          </c:cat>
          <c:val>
            <c:numRef>
              <c:f>Sheet1!$E$2:$E$4</c:f>
              <c:numCache>
                <c:formatCode>General</c:formatCode>
                <c:ptCount val="3"/>
                <c:pt idx="0">
                  <c:v>103.99225625</c:v>
                </c:pt>
                <c:pt idx="1">
                  <c:v>173.415025</c:v>
                </c:pt>
                <c:pt idx="2">
                  <c:v>303.958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60ML</c:v>
                </c:pt>
                <c:pt idx="1">
                  <c:v>180ML</c:v>
                </c:pt>
                <c:pt idx="2">
                  <c:v>236ML</c:v>
                </c:pt>
              </c:strCache>
            </c:strRef>
          </c:cat>
          <c:val>
            <c:numRef>
              <c:f>Sheet1!$B$2:$B$4</c:f>
              <c:numCache>
                <c:formatCode>General</c:formatCode>
                <c:ptCount val="3"/>
                <c:pt idx="0">
                  <c:v>0.09067</c:v>
                </c:pt>
                <c:pt idx="1">
                  <c:v>20.27606</c:v>
                </c:pt>
                <c:pt idx="2">
                  <c:v>86.6249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4.91</a:t>
                    </a:r>
                  </a:p>
                </c:rich>
              </c:tx>
              <c:dLblPos val="t"/>
              <c:showLegendKey val="0"/>
              <c:showVal val="1"/>
              <c:showCatName val="0"/>
              <c:showSerName val="0"/>
              <c:showPercent val="0"/>
              <c:showBubbleSize val="0"/>
            </c:dLbl>
            <c:dLbl>
              <c:idx val="1"/>
              <c:tx>
                <c:rich>
                  <a:bodyPr/>
                  <a:lstStyle/>
                  <a:p>
                    <a:r>
                      <a:t>260.48</a:t>
                    </a:r>
                  </a:p>
                </c:rich>
              </c:tx>
              <c:dLblPos val="t"/>
              <c:showLegendKey val="0"/>
              <c:showVal val="1"/>
              <c:showCatName val="0"/>
              <c:showSerName val="0"/>
              <c:showPercent val="0"/>
              <c:showBubbleSize val="0"/>
            </c:dLbl>
            <c:dLbl>
              <c:idx val="2"/>
              <c:tx>
                <c:rich>
                  <a:bodyPr/>
                  <a:lstStyle/>
                  <a:p>
                    <a:r>
                      <a:t>282.7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60ML</c:v>
                </c:pt>
                <c:pt idx="1">
                  <c:v>180ML</c:v>
                </c:pt>
                <c:pt idx="2">
                  <c:v>236ML</c:v>
                </c:pt>
              </c:strCache>
            </c:strRef>
          </c:cat>
          <c:val>
            <c:numRef>
              <c:f>Sheet1!$C$2:$C$4</c:f>
              <c:numCache>
                <c:formatCode>General</c:formatCode>
                <c:ptCount val="3"/>
                <c:pt idx="0">
                  <c:v>94.9054</c:v>
                </c:pt>
                <c:pt idx="1">
                  <c:v>260.477</c:v>
                </c:pt>
                <c:pt idx="2">
                  <c:v>282.744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60ML</c:v>
                </c:pt>
                <c:pt idx="1">
                  <c:v>180ML</c:v>
                </c:pt>
                <c:pt idx="2">
                  <c:v>236ML</c:v>
                </c:pt>
              </c:strCache>
            </c:strRef>
          </c:cat>
          <c:val>
            <c:numRef>
              <c:f>Sheet1!$D$2:$D$4</c:f>
              <c:numCache>
                <c:formatCode>General</c:formatCode>
                <c:ptCount val="3"/>
                <c:pt idx="0">
                  <c:v>71.8841186440678</c:v>
                </c:pt>
                <c:pt idx="1">
                  <c:v>215.6523559322034</c:v>
                </c:pt>
                <c:pt idx="2">
                  <c:v>282.744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60ML</c:v>
                </c:pt>
                <c:pt idx="1">
                  <c:v>180ML</c:v>
                </c:pt>
                <c:pt idx="2">
                  <c:v>236ML</c:v>
                </c:pt>
              </c:strCache>
            </c:strRef>
          </c:cat>
          <c:val>
            <c:numRef>
              <c:f>Sheet1!$E$2:$E$4</c:f>
              <c:numCache>
                <c:formatCode>General</c:formatCode>
                <c:ptCount val="3"/>
                <c:pt idx="0">
                  <c:v>83.3947593220339</c:v>
                </c:pt>
                <c:pt idx="1">
                  <c:v>238.06467796610167</c:v>
                </c:pt>
                <c:pt idx="2">
                  <c:v>282.744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7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60ML</c:v>
                </c:pt>
                <c:pt idx="1">
                  <c:v>180ML</c:v>
                </c:pt>
                <c:pt idx="2">
                  <c:v>240ML</c:v>
                </c:pt>
              </c:strCache>
            </c:strRef>
          </c:cat>
          <c:val>
            <c:numRef>
              <c:f>Sheet1!$B$2:$B$4</c:f>
              <c:numCache>
                <c:formatCode>General</c:formatCode>
                <c:ptCount val="3"/>
                <c:pt idx="0">
                  <c:v>47.82373</c:v>
                </c:pt>
                <c:pt idx="1">
                  <c:v>17.73328</c:v>
                </c:pt>
                <c:pt idx="2">
                  <c:v>76.3056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5.3</a:t>
                    </a:r>
                  </a:p>
                </c:rich>
              </c:tx>
              <c:dLblPos val="t"/>
              <c:showLegendKey val="0"/>
              <c:showVal val="1"/>
              <c:showCatName val="0"/>
              <c:showSerName val="0"/>
              <c:showPercent val="0"/>
              <c:showBubbleSize val="0"/>
            </c:dLbl>
            <c:dLbl>
              <c:idx val="1"/>
              <c:tx>
                <c:rich>
                  <a:bodyPr/>
                  <a:lstStyle/>
                  <a:p>
                    <a:r>
                      <a:t>246.18</a:t>
                    </a:r>
                  </a:p>
                </c:rich>
              </c:tx>
              <c:dLblPos val="t"/>
              <c:showLegendKey val="0"/>
              <c:showVal val="1"/>
              <c:showCatName val="0"/>
              <c:showSerName val="0"/>
              <c:showPercent val="0"/>
              <c:showBubbleSize val="0"/>
            </c:dLbl>
            <c:dLbl>
              <c:idx val="2"/>
              <c:tx>
                <c:rich>
                  <a:bodyPr/>
                  <a:lstStyle/>
                  <a:p>
                    <a:r>
                      <a:t>307.2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60ML</c:v>
                </c:pt>
                <c:pt idx="1">
                  <c:v>180ML</c:v>
                </c:pt>
                <c:pt idx="2">
                  <c:v>240ML</c:v>
                </c:pt>
              </c:strCache>
            </c:strRef>
          </c:cat>
          <c:val>
            <c:numRef>
              <c:f>Sheet1!$C$2:$C$4</c:f>
              <c:numCache>
                <c:formatCode>General</c:formatCode>
                <c:ptCount val="3"/>
                <c:pt idx="0">
                  <c:v>85.2959</c:v>
                </c:pt>
                <c:pt idx="1">
                  <c:v>246.1826</c:v>
                </c:pt>
                <c:pt idx="2">
                  <c:v>307.234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60ML</c:v>
                </c:pt>
                <c:pt idx="1">
                  <c:v>180ML</c:v>
                </c:pt>
                <c:pt idx="2">
                  <c:v>240ML</c:v>
                </c:pt>
              </c:strCache>
            </c:strRef>
          </c:cat>
          <c:val>
            <c:numRef>
              <c:f>Sheet1!$D$2:$D$4</c:f>
              <c:numCache>
                <c:formatCode>General</c:formatCode>
                <c:ptCount val="3"/>
                <c:pt idx="0">
                  <c:v>85.2959</c:v>
                </c:pt>
                <c:pt idx="1">
                  <c:v>255.8877</c:v>
                </c:pt>
                <c:pt idx="2">
                  <c:v>341.183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60ML</c:v>
                </c:pt>
                <c:pt idx="1">
                  <c:v>180ML</c:v>
                </c:pt>
                <c:pt idx="2">
                  <c:v>240ML</c:v>
                </c:pt>
              </c:strCache>
            </c:strRef>
          </c:cat>
          <c:val>
            <c:numRef>
              <c:f>Sheet1!$E$2:$E$4</c:f>
              <c:numCache>
                <c:formatCode>General</c:formatCode>
                <c:ptCount val="3"/>
                <c:pt idx="0">
                  <c:v>85.2959</c:v>
                </c:pt>
                <c:pt idx="1">
                  <c:v>251.03515</c:v>
                </c:pt>
                <c:pt idx="2">
                  <c:v>324.2088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5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180ML</c:v>
                </c:pt>
              </c:strCache>
            </c:strRef>
          </c:cat>
          <c:val>
            <c:numRef>
              <c:f>Sheet1!$B$2:$B$3</c:f>
              <c:numCache>
                <c:formatCode>General</c:formatCode>
                <c:ptCount val="2"/>
                <c:pt idx="0">
                  <c:v>72.89319</c:v>
                </c:pt>
                <c:pt idx="1">
                  <c:v>0.1597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92.71</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180ML</c:v>
                </c:pt>
              </c:strCache>
            </c:strRef>
          </c:cat>
          <c:val>
            <c:numRef>
              <c:f>Sheet1!$C$2:$C$3</c:f>
              <c:numCache>
                <c:formatCode>General</c:formatCode>
                <c:ptCount val="2"/>
                <c:pt idx="0">
                  <c:v>292.7079</c:v>
                </c:pt>
                <c:pt idx="1">
                  <c:v>265.097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180ML</c:v>
                </c:pt>
              </c:strCache>
            </c:strRef>
          </c:cat>
          <c:val>
            <c:numRef>
              <c:f>Sheet1!$D$2:$D$3</c:f>
              <c:numCache>
                <c:formatCode>General</c:formatCode>
                <c:ptCount val="2"/>
                <c:pt idx="0">
                  <c:v>292.7079</c:v>
                </c:pt>
                <c:pt idx="1">
                  <c:v>309.926011764705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180ML</c:v>
                </c:pt>
              </c:strCache>
            </c:strRef>
          </c:cat>
          <c:val>
            <c:numRef>
              <c:f>Sheet1!$E$2:$E$3</c:f>
              <c:numCache>
                <c:formatCode>General</c:formatCode>
                <c:ptCount val="2"/>
                <c:pt idx="0">
                  <c:v>292.7079</c:v>
                </c:pt>
                <c:pt idx="1">
                  <c:v>287.511555882352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5"/>
              <c:tx>
                <c:rich>
                  <a:bodyPr/>
                  <a:lstStyle/>
                  <a:p/>
                </c:rich>
              </c:tx>
              <c:showLegendKey val="0"/>
              <c:showVal val="1"/>
              <c:showCatName val="0"/>
              <c:showSerName val="0"/>
              <c:showPercent val="0"/>
              <c:showBubbleSize val="0"/>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7</c:f>
              <c:strCache>
                <c:ptCount val="6"/>
                <c:pt idx="0">
                  <c:v>30ML</c:v>
                </c:pt>
                <c:pt idx="1">
                  <c:v>60ML</c:v>
                </c:pt>
                <c:pt idx="2">
                  <c:v>118ML</c:v>
                </c:pt>
                <c:pt idx="3">
                  <c:v>180ML</c:v>
                </c:pt>
                <c:pt idx="4">
                  <c:v>236ML</c:v>
                </c:pt>
                <c:pt idx="5">
                  <c:v>472ML</c:v>
                </c:pt>
              </c:strCache>
            </c:strRef>
          </c:cat>
          <c:val>
            <c:numRef>
              <c:f>Sheet1!$B$2:$B$7</c:f>
              <c:numCache>
                <c:formatCode>General</c:formatCode>
                <c:ptCount val="6"/>
                <c:pt idx="0">
                  <c:v>0.22784</c:v>
                </c:pt>
                <c:pt idx="1">
                  <c:v>9.90681</c:v>
                </c:pt>
                <c:pt idx="2">
                  <c:v>4.01672</c:v>
                </c:pt>
                <c:pt idx="3">
                  <c:v>65.63602</c:v>
                </c:pt>
                <c:pt idx="4">
                  <c:v>61.35937</c:v>
                </c:pt>
                <c:pt idx="5">
                  <c:v>0.0118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8.92</a:t>
                    </a:r>
                  </a:p>
                </c:rich>
              </c:tx>
              <c:dLblPos val="t"/>
              <c:showLegendKey val="0"/>
              <c:showVal val="1"/>
              <c:showCatName val="0"/>
              <c:showSerName val="0"/>
              <c:showPercent val="0"/>
              <c:showBubbleSize val="0"/>
            </c:dLbl>
            <c:dLbl>
              <c:idx val="1"/>
              <c:tx>
                <c:rich>
                  <a:bodyPr/>
                  <a:lstStyle/>
                  <a:p>
                    <a:r>
                      <a:t>283.99</a:t>
                    </a:r>
                  </a:p>
                </c:rich>
              </c:tx>
              <c:dLblPos val="t"/>
              <c:showLegendKey val="0"/>
              <c:showVal val="1"/>
              <c:showCatName val="0"/>
              <c:showSerName val="0"/>
              <c:showPercent val="0"/>
              <c:showBubbleSize val="0"/>
            </c:dLbl>
            <c:dLbl>
              <c:idx val="2"/>
              <c:tx>
                <c:rich>
                  <a:bodyPr/>
                  <a:lstStyle/>
                  <a:p>
                    <a:r>
                      <a:t>158.83</a:t>
                    </a:r>
                  </a:p>
                </c:rich>
              </c:tx>
              <c:dLblPos val="t"/>
              <c:showLegendKey val="0"/>
              <c:showVal val="1"/>
              <c:showCatName val="0"/>
              <c:showSerName val="0"/>
              <c:showPercent val="0"/>
              <c:showBubbleSize val="0"/>
            </c:dLbl>
            <c:dLbl>
              <c:idx val="3"/>
              <c:tx>
                <c:rich>
                  <a:bodyPr/>
                  <a:lstStyle/>
                  <a:p>
                    <a:r>
                      <a:t>325.51</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58.77</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dLbl>
              <c:idx val="5"/>
              <c:tx>
                <c:rich>
                  <a:bodyPr/>
                  <a:lstStyle/>
                  <a:p>
                    <a:r>
                      <a:t>158.05</a:t>
                    </a:r>
                  </a:p>
                </c:rich>
              </c:tx>
              <c:dLblPos val="t"/>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30ML</c:v>
                </c:pt>
                <c:pt idx="1">
                  <c:v>60ML</c:v>
                </c:pt>
                <c:pt idx="2">
                  <c:v>118ML</c:v>
                </c:pt>
                <c:pt idx="3">
                  <c:v>180ML</c:v>
                </c:pt>
                <c:pt idx="4">
                  <c:v>236ML</c:v>
                </c:pt>
                <c:pt idx="5">
                  <c:v>472ML</c:v>
                </c:pt>
              </c:strCache>
            </c:strRef>
          </c:cat>
          <c:val>
            <c:numRef>
              <c:f>Sheet1!$C$2:$C$7</c:f>
              <c:numCache>
                <c:formatCode>General</c:formatCode>
                <c:ptCount val="6"/>
                <c:pt idx="0">
                  <c:v>38.9188</c:v>
                </c:pt>
                <c:pt idx="1">
                  <c:v>283.9938</c:v>
                </c:pt>
                <c:pt idx="2">
                  <c:v>158.8345</c:v>
                </c:pt>
                <c:pt idx="3">
                  <c:v>325.5122</c:v>
                </c:pt>
                <c:pt idx="4">
                  <c:v>258.7656</c:v>
                </c:pt>
                <c:pt idx="5">
                  <c:v>158.045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7</c:f>
              <c:strCache>
                <c:ptCount val="6"/>
                <c:pt idx="0">
                  <c:v>30ML</c:v>
                </c:pt>
                <c:pt idx="1">
                  <c:v>60ML</c:v>
                </c:pt>
                <c:pt idx="2">
                  <c:v>118ML</c:v>
                </c:pt>
                <c:pt idx="3">
                  <c:v>180ML</c:v>
                </c:pt>
                <c:pt idx="4">
                  <c:v>236ML</c:v>
                </c:pt>
                <c:pt idx="5">
                  <c:v>472ML</c:v>
                </c:pt>
              </c:strCache>
            </c:strRef>
          </c:cat>
          <c:val>
            <c:numRef>
              <c:f>Sheet1!$D$2:$D$7</c:f>
              <c:numCache>
                <c:formatCode>General</c:formatCode>
                <c:ptCount val="6"/>
                <c:pt idx="0">
                  <c:v>32.89393220338983</c:v>
                </c:pt>
                <c:pt idx="1">
                  <c:v>65.78786440677966</c:v>
                </c:pt>
                <c:pt idx="2">
                  <c:v>129.3828</c:v>
                </c:pt>
                <c:pt idx="3">
                  <c:v>197.36359322033897</c:v>
                </c:pt>
                <c:pt idx="4">
                  <c:v>258.7656</c:v>
                </c:pt>
                <c:pt idx="5">
                  <c:v>517.531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3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2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6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t>-6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7</c:f>
              <c:strCache>
                <c:ptCount val="6"/>
                <c:pt idx="0">
                  <c:v>30ML</c:v>
                </c:pt>
                <c:pt idx="1">
                  <c:v>60ML</c:v>
                </c:pt>
                <c:pt idx="2">
                  <c:v>118ML</c:v>
                </c:pt>
                <c:pt idx="3">
                  <c:v>180ML</c:v>
                </c:pt>
                <c:pt idx="4">
                  <c:v>236ML</c:v>
                </c:pt>
                <c:pt idx="5">
                  <c:v>472ML</c:v>
                </c:pt>
              </c:strCache>
            </c:strRef>
          </c:cat>
          <c:val>
            <c:numRef>
              <c:f>Sheet1!$E$2:$E$7</c:f>
              <c:numCache>
                <c:formatCode>General</c:formatCode>
                <c:ptCount val="6"/>
                <c:pt idx="0">
                  <c:v>35.906366101694914</c:v>
                </c:pt>
                <c:pt idx="1">
                  <c:v>174.89083220338983</c:v>
                </c:pt>
                <c:pt idx="2">
                  <c:v>144.10865</c:v>
                </c:pt>
                <c:pt idx="3">
                  <c:v>261.4378966101695</c:v>
                </c:pt>
                <c:pt idx="4">
                  <c:v>258.7656</c:v>
                </c:pt>
                <c:pt idx="5">
                  <c:v>337.7883500000000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3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340ML</c:v>
                </c:pt>
              </c:strCache>
            </c:strRef>
          </c:cat>
          <c:val>
            <c:numRef>
              <c:f>Sheet1!$B$2:$B$3</c:f>
              <c:numCache>
                <c:formatCode>General</c:formatCode>
                <c:ptCount val="2"/>
                <c:pt idx="0">
                  <c:v>1.9764</c:v>
                </c:pt>
                <c:pt idx="1">
                  <c:v>0.7272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0.4</a:t>
                    </a:r>
                  </a:p>
                </c:rich>
              </c:tx>
              <c:dLblPos val="t"/>
              <c:showLegendKey val="0"/>
              <c:showVal val="1"/>
              <c:showCatName val="0"/>
              <c:showSerName val="0"/>
              <c:showPercent val="0"/>
              <c:showBubbleSize val="0"/>
            </c:dLbl>
            <c:dLbl>
              <c:idx val="1"/>
              <c:tx>
                <c:rich>
                  <a:bodyPr/>
                  <a:lstStyle/>
                  <a:p>
                    <a:r>
                      <a:t>237.7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340ML</c:v>
                </c:pt>
              </c:strCache>
            </c:strRef>
          </c:cat>
          <c:val>
            <c:numRef>
              <c:f>Sheet1!$C$2:$C$3</c:f>
              <c:numCache>
                <c:formatCode>General</c:formatCode>
                <c:ptCount val="2"/>
                <c:pt idx="0">
                  <c:v>310.4003</c:v>
                </c:pt>
                <c:pt idx="1">
                  <c:v>237.719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340ML</c:v>
                </c:pt>
              </c:strCache>
            </c:strRef>
          </c:cat>
          <c:val>
            <c:numRef>
              <c:f>Sheet1!$D$2:$D$3</c:f>
              <c:numCache>
                <c:formatCode>General</c:formatCode>
                <c:ptCount val="2"/>
                <c:pt idx="0">
                  <c:v>310.4003</c:v>
                </c:pt>
                <c:pt idx="1">
                  <c:v>620.800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340ML</c:v>
                </c:pt>
              </c:strCache>
            </c:strRef>
          </c:cat>
          <c:val>
            <c:numRef>
              <c:f>Sheet1!$E$2:$E$3</c:f>
              <c:numCache>
                <c:formatCode>General</c:formatCode>
                <c:ptCount val="2"/>
                <c:pt idx="0">
                  <c:v>310.4003</c:v>
                </c:pt>
                <c:pt idx="1">
                  <c:v>429.2599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20.61897</c:v>
                </c:pt>
                <c:pt idx="1">
                  <c:v>162.856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97.2</a:t>
                    </a:r>
                  </a:p>
                </c:rich>
              </c:tx>
              <c:dLblPos val="t"/>
              <c:showLegendKey val="0"/>
              <c:showVal val="1"/>
              <c:showCatName val="0"/>
              <c:showSerName val="0"/>
              <c:showPercent val="0"/>
              <c:showBubbleSize val="0"/>
            </c:dLbl>
            <c:dLbl>
              <c:idx val="1"/>
              <c:tx>
                <c:rich>
                  <a:bodyPr/>
                  <a:lstStyle/>
                  <a:p>
                    <a:r>
                      <a:t>296.6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297.1966</c:v>
                </c:pt>
                <c:pt idx="1">
                  <c:v>296.606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26.22522033898306</c:v>
                </c:pt>
                <c:pt idx="1">
                  <c:v>296.606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261.7109101694915</c:v>
                </c:pt>
                <c:pt idx="1">
                  <c:v>296.606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32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220ML</c:v>
                </c:pt>
              </c:strCache>
            </c:strRef>
          </c:cat>
          <c:val>
            <c:numRef>
              <c:f>Sheet1!$B$2:$B$3</c:f>
              <c:numCache>
                <c:formatCode>General</c:formatCode>
                <c:ptCount val="2"/>
                <c:pt idx="0">
                  <c:v>9.89231</c:v>
                </c:pt>
                <c:pt idx="1">
                  <c:v>80.7153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94.69</a:t>
                    </a:r>
                  </a:p>
                </c:rich>
              </c:tx>
              <c:dLblPos val="t"/>
              <c:showLegendKey val="0"/>
              <c:showVal val="1"/>
              <c:showCatName val="0"/>
              <c:showSerName val="0"/>
              <c:showPercent val="0"/>
              <c:showBubbleSize val="0"/>
            </c:dLbl>
            <c:dLbl>
              <c:idx val="1"/>
              <c:tx>
                <c:rich>
                  <a:bodyPr/>
                  <a:lstStyle/>
                  <a:p>
                    <a:r>
                      <a:t>302.8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220ML</c:v>
                </c:pt>
              </c:strCache>
            </c:strRef>
          </c:cat>
          <c:val>
            <c:numRef>
              <c:f>Sheet1!$C$2:$C$3</c:f>
              <c:numCache>
                <c:formatCode>General</c:formatCode>
                <c:ptCount val="2"/>
                <c:pt idx="0">
                  <c:v>294.6898</c:v>
                </c:pt>
                <c:pt idx="1">
                  <c:v>302.863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220ML</c:v>
                </c:pt>
              </c:strCache>
            </c:strRef>
          </c:cat>
          <c:val>
            <c:numRef>
              <c:f>Sheet1!$D$2:$D$3</c:f>
              <c:numCache>
                <c:formatCode>General</c:formatCode>
                <c:ptCount val="2"/>
                <c:pt idx="0">
                  <c:v>234.03057727272727</c:v>
                </c:pt>
                <c:pt idx="1">
                  <c:v>302.863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220ML</c:v>
                </c:pt>
              </c:strCache>
            </c:strRef>
          </c:cat>
          <c:val>
            <c:numRef>
              <c:f>Sheet1!$E$2:$E$3</c:f>
              <c:numCache>
                <c:formatCode>General</c:formatCode>
                <c:ptCount val="2"/>
                <c:pt idx="0">
                  <c:v>264.36018863636366</c:v>
                </c:pt>
                <c:pt idx="1">
                  <c:v>302.863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6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180ML</c:v>
                </c:pt>
              </c:strCache>
            </c:strRef>
          </c:cat>
          <c:val>
            <c:numRef>
              <c:f>Sheet1!$B$2:$B$3</c:f>
              <c:numCache>
                <c:formatCode>General</c:formatCode>
                <c:ptCount val="2"/>
                <c:pt idx="0">
                  <c:v>10.87483</c:v>
                </c:pt>
                <c:pt idx="1">
                  <c:v>26.5300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2.19</a:t>
                    </a:r>
                  </a:p>
                </c:rich>
              </c:tx>
              <c:dLblPos val="t"/>
              <c:showLegendKey val="0"/>
              <c:showVal val="1"/>
              <c:showCatName val="0"/>
              <c:showSerName val="0"/>
              <c:showPercent val="0"/>
              <c:showBubbleSize val="0"/>
            </c:dLbl>
            <c:dLbl>
              <c:idx val="1"/>
              <c:tx>
                <c:rich>
                  <a:bodyPr/>
                  <a:lstStyle/>
                  <a:p>
                    <a:r>
                      <a:t>334.3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180ML</c:v>
                </c:pt>
              </c:strCache>
            </c:strRef>
          </c:cat>
          <c:val>
            <c:numRef>
              <c:f>Sheet1!$C$2:$C$3</c:f>
              <c:numCache>
                <c:formatCode>General</c:formatCode>
                <c:ptCount val="2"/>
                <c:pt idx="0">
                  <c:v>82.192</c:v>
                </c:pt>
                <c:pt idx="1">
                  <c:v>334.389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180ML</c:v>
                </c:pt>
              </c:strCache>
            </c:strRef>
          </c:cat>
          <c:val>
            <c:numRef>
              <c:f>Sheet1!$D$2:$D$3</c:f>
              <c:numCache>
                <c:formatCode>General</c:formatCode>
                <c:ptCount val="2"/>
                <c:pt idx="0">
                  <c:v>82.192</c:v>
                </c:pt>
                <c:pt idx="1">
                  <c:v>246.57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180ML</c:v>
                </c:pt>
              </c:strCache>
            </c:strRef>
          </c:cat>
          <c:val>
            <c:numRef>
              <c:f>Sheet1!$E$2:$E$3</c:f>
              <c:numCache>
                <c:formatCode>General</c:formatCode>
                <c:ptCount val="2"/>
                <c:pt idx="0">
                  <c:v>82.192</c:v>
                </c:pt>
                <c:pt idx="1">
                  <c:v>290.4828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00ML</c:v>
                </c:pt>
                <c:pt idx="1">
                  <c:v>350ML</c:v>
                </c:pt>
              </c:strCache>
            </c:strRef>
          </c:cat>
          <c:val>
            <c:numRef>
              <c:f>Sheet1!$B$2:$B$3</c:f>
              <c:numCache>
                <c:formatCode>General</c:formatCode>
                <c:ptCount val="2"/>
                <c:pt idx="0">
                  <c:v>1.10995</c:v>
                </c:pt>
                <c:pt idx="1">
                  <c:v>0.4689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32.6</a:t>
                    </a:r>
                  </a:p>
                </c:rich>
              </c:tx>
              <c:dLblPos val="t"/>
              <c:showLegendKey val="0"/>
              <c:showVal val="1"/>
              <c:showCatName val="0"/>
              <c:showSerName val="0"/>
              <c:showPercent val="0"/>
              <c:showBubbleSize val="0"/>
            </c:dLbl>
            <c:dLbl>
              <c:idx val="1"/>
              <c:tx>
                <c:rich>
                  <a:bodyPr/>
                  <a:lstStyle/>
                  <a:p>
                    <a:r>
                      <a:t>439.9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00ML</c:v>
                </c:pt>
                <c:pt idx="1">
                  <c:v>350ML</c:v>
                </c:pt>
              </c:strCache>
            </c:strRef>
          </c:cat>
          <c:val>
            <c:numRef>
              <c:f>Sheet1!$C$2:$C$3</c:f>
              <c:numCache>
                <c:formatCode>General</c:formatCode>
                <c:ptCount val="2"/>
                <c:pt idx="0">
                  <c:v>332.5951</c:v>
                </c:pt>
                <c:pt idx="1">
                  <c:v>439.922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00ML</c:v>
                </c:pt>
                <c:pt idx="1">
                  <c:v>350ML</c:v>
                </c:pt>
              </c:strCache>
            </c:strRef>
          </c:cat>
          <c:val>
            <c:numRef>
              <c:f>Sheet1!$D$2:$D$3</c:f>
              <c:numCache>
                <c:formatCode>General</c:formatCode>
                <c:ptCount val="2"/>
                <c:pt idx="0">
                  <c:v>332.5951</c:v>
                </c:pt>
                <c:pt idx="1">
                  <c:v>388.0276166666666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00ML</c:v>
                </c:pt>
                <c:pt idx="1">
                  <c:v>350ML</c:v>
                </c:pt>
              </c:strCache>
            </c:strRef>
          </c:cat>
          <c:val>
            <c:numRef>
              <c:f>Sheet1!$E$2:$E$3</c:f>
              <c:numCache>
                <c:formatCode>General</c:formatCode>
                <c:ptCount val="2"/>
                <c:pt idx="0">
                  <c:v>332.5951</c:v>
                </c:pt>
                <c:pt idx="1">
                  <c:v>413.975208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230ML</c:v>
                </c:pt>
                <c:pt idx="1">
                  <c:v>453ML</c:v>
                </c:pt>
                <c:pt idx="2">
                  <c:v>473ML</c:v>
                </c:pt>
              </c:strCache>
            </c:strRef>
          </c:cat>
          <c:val>
            <c:numRef>
              <c:f>Sheet1!$B$2:$B$4</c:f>
              <c:numCache>
                <c:formatCode>General</c:formatCode>
                <c:ptCount val="3"/>
                <c:pt idx="0">
                  <c:v>56.34087</c:v>
                </c:pt>
                <c:pt idx="1">
                  <c:v>0.5119</c:v>
                </c:pt>
                <c:pt idx="2">
                  <c:v>9.4915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49.69</a:t>
                    </a:r>
                  </a:p>
                </c:rich>
              </c:tx>
              <c:dLblPos val="t"/>
              <c:showLegendKey val="0"/>
              <c:showVal val="1"/>
              <c:showCatName val="0"/>
              <c:showSerName val="0"/>
              <c:showPercent val="0"/>
              <c:showBubbleSize val="0"/>
            </c:dLbl>
            <c:dLbl>
              <c:idx val="1"/>
              <c:tx>
                <c:rich>
                  <a:bodyPr/>
                  <a:lstStyle/>
                  <a:p>
                    <a:r>
                      <a:t>159.45</a:t>
                    </a:r>
                  </a:p>
                </c:rich>
              </c:tx>
              <c:dLblPos val="t"/>
              <c:showLegendKey val="0"/>
              <c:showVal val="1"/>
              <c:showCatName val="0"/>
              <c:showSerName val="0"/>
              <c:showPercent val="0"/>
              <c:showBubbleSize val="0"/>
            </c:dLbl>
            <c:dLbl>
              <c:idx val="2"/>
              <c:tx>
                <c:rich>
                  <a:bodyPr/>
                  <a:lstStyle/>
                  <a:p>
                    <a:r>
                      <a:t>161.1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30ML</c:v>
                </c:pt>
                <c:pt idx="1">
                  <c:v>453ML</c:v>
                </c:pt>
                <c:pt idx="2">
                  <c:v>473ML</c:v>
                </c:pt>
              </c:strCache>
            </c:strRef>
          </c:cat>
          <c:val>
            <c:numRef>
              <c:f>Sheet1!$C$2:$C$4</c:f>
              <c:numCache>
                <c:formatCode>General</c:formatCode>
                <c:ptCount val="3"/>
                <c:pt idx="0">
                  <c:v>149.6921</c:v>
                </c:pt>
                <c:pt idx="1">
                  <c:v>159.4537</c:v>
                </c:pt>
                <c:pt idx="2">
                  <c:v>161.166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230ML</c:v>
                </c:pt>
                <c:pt idx="1">
                  <c:v>453ML</c:v>
                </c:pt>
                <c:pt idx="2">
                  <c:v>473ML</c:v>
                </c:pt>
              </c:strCache>
            </c:strRef>
          </c:cat>
          <c:val>
            <c:numRef>
              <c:f>Sheet1!$D$2:$D$4</c:f>
              <c:numCache>
                <c:formatCode>General</c:formatCode>
                <c:ptCount val="3"/>
                <c:pt idx="0">
                  <c:v>149.6921</c:v>
                </c:pt>
                <c:pt idx="1">
                  <c:v>294.82835347826085</c:v>
                </c:pt>
                <c:pt idx="2">
                  <c:v>307.8450578260869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4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230ML</c:v>
                </c:pt>
                <c:pt idx="1">
                  <c:v>453ML</c:v>
                </c:pt>
                <c:pt idx="2">
                  <c:v>473ML</c:v>
                </c:pt>
              </c:strCache>
            </c:strRef>
          </c:cat>
          <c:val>
            <c:numRef>
              <c:f>Sheet1!$E$2:$E$4</c:f>
              <c:numCache>
                <c:formatCode>General</c:formatCode>
                <c:ptCount val="3"/>
                <c:pt idx="0">
                  <c:v>149.6921</c:v>
                </c:pt>
                <c:pt idx="1">
                  <c:v>227.14102673913044</c:v>
                </c:pt>
                <c:pt idx="2">
                  <c:v>234.5057789130434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1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5"/>
              <c:tx>
                <c:rich>
                  <a:bodyPr/>
                  <a:lstStyle/>
                  <a:p/>
                </c:rich>
              </c:tx>
              <c:showLegendKey val="0"/>
              <c:showVal val="1"/>
              <c:showCatName val="0"/>
              <c:showSerName val="0"/>
              <c:showPercent val="0"/>
              <c:showBubbleSize val="0"/>
            </c:dLbl>
            <c:dLbl>
              <c:idx val="6"/>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50ML</c:v>
                </c:pt>
                <c:pt idx="1">
                  <c:v>60ML</c:v>
                </c:pt>
                <c:pt idx="2">
                  <c:v>90ML</c:v>
                </c:pt>
                <c:pt idx="3">
                  <c:v>120ML</c:v>
                </c:pt>
                <c:pt idx="4">
                  <c:v>150ML</c:v>
                </c:pt>
                <c:pt idx="5">
                  <c:v>180ML</c:v>
                </c:pt>
                <c:pt idx="6">
                  <c:v>240ML</c:v>
                </c:pt>
              </c:strCache>
            </c:strRef>
          </c:cat>
          <c:val>
            <c:numRef>
              <c:f>Sheet1!$B$2:$B$8</c:f>
              <c:numCache>
                <c:formatCode>General</c:formatCode>
                <c:ptCount val="7"/>
                <c:pt idx="0">
                  <c:v>1.21672</c:v>
                </c:pt>
                <c:pt idx="1">
                  <c:v>6.17375</c:v>
                </c:pt>
                <c:pt idx="2">
                  <c:v>2.55588</c:v>
                </c:pt>
                <c:pt idx="3">
                  <c:v>1.01234</c:v>
                </c:pt>
                <c:pt idx="4">
                  <c:v>1.45239</c:v>
                </c:pt>
                <c:pt idx="5">
                  <c:v>10.01134</c:v>
                </c:pt>
                <c:pt idx="6">
                  <c:v>71.937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67.0</a:t>
                    </a:r>
                  </a:p>
                </c:rich>
              </c:tx>
              <c:dLblPos val="t"/>
              <c:showLegendKey val="0"/>
              <c:showVal val="1"/>
              <c:showCatName val="0"/>
              <c:showSerName val="0"/>
              <c:showPercent val="0"/>
              <c:showBubbleSize val="0"/>
            </c:dLbl>
            <c:dLbl>
              <c:idx val="1"/>
              <c:tx>
                <c:rich>
                  <a:bodyPr/>
                  <a:lstStyle/>
                  <a:p>
                    <a:r>
                      <a:t>97.59</a:t>
                    </a:r>
                  </a:p>
                </c:rich>
              </c:tx>
              <c:dLblPos val="t"/>
              <c:showLegendKey val="0"/>
              <c:showVal val="1"/>
              <c:showCatName val="0"/>
              <c:showSerName val="0"/>
              <c:showPercent val="0"/>
              <c:showBubbleSize val="0"/>
            </c:dLbl>
            <c:dLbl>
              <c:idx val="2"/>
              <c:tx>
                <c:rich>
                  <a:bodyPr/>
                  <a:lstStyle/>
                  <a:p>
                    <a:r>
                      <a:t>129.57</a:t>
                    </a:r>
                  </a:p>
                </c:rich>
              </c:tx>
              <c:dLblPos val="t"/>
              <c:showLegendKey val="0"/>
              <c:showVal val="1"/>
              <c:showCatName val="0"/>
              <c:showSerName val="0"/>
              <c:showPercent val="0"/>
              <c:showBubbleSize val="0"/>
            </c:dLbl>
            <c:dLbl>
              <c:idx val="3"/>
              <c:tx>
                <c:rich>
                  <a:bodyPr/>
                  <a:lstStyle/>
                  <a:p>
                    <a:r>
                      <a:t>129.31</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33.87</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dLbl>
              <c:idx val="5"/>
              <c:tx>
                <c:rich>
                  <a:bodyPr/>
                  <a:lstStyle/>
                  <a:p>
                    <a:r>
                      <a:t>358.51</a:t>
                    </a:r>
                  </a:p>
                </c:rich>
              </c:tx>
              <c:dLblPos val="t"/>
              <c:showLegendKey val="0"/>
              <c:showVal val="1"/>
              <c:showCatName val="0"/>
              <c:showSerName val="0"/>
              <c:showPercent val="0"/>
              <c:showBubbleSize val="0"/>
            </c:dLbl>
            <c:dLbl>
              <c:idx val="6"/>
              <c:tx>
                <c:rich>
                  <a:bodyPr/>
                  <a:lstStyle/>
                  <a:p>
                    <a:r>
                      <a:t>318.04</a:t>
                    </a:r>
                  </a:p>
                </c:rich>
              </c:tx>
              <c:dLblPos val="t"/>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C$2:$C$8</c:f>
              <c:numCache>
                <c:formatCode>General</c:formatCode>
                <c:ptCount val="7"/>
                <c:pt idx="0">
                  <c:v>367.0</c:v>
                </c:pt>
                <c:pt idx="1">
                  <c:v>97.5893</c:v>
                </c:pt>
                <c:pt idx="2">
                  <c:v>129.5713</c:v>
                </c:pt>
                <c:pt idx="3">
                  <c:v>129.3068</c:v>
                </c:pt>
                <c:pt idx="4">
                  <c:v>233.874</c:v>
                </c:pt>
                <c:pt idx="5">
                  <c:v>358.5109</c:v>
                </c:pt>
                <c:pt idx="6">
                  <c:v>318.044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8</c:f>
              <c:strCache>
                <c:ptCount val="7"/>
                <c:pt idx="0">
                  <c:v>50ML</c:v>
                </c:pt>
                <c:pt idx="1">
                  <c:v>60ML</c:v>
                </c:pt>
                <c:pt idx="2">
                  <c:v>90ML</c:v>
                </c:pt>
                <c:pt idx="3">
                  <c:v>120ML</c:v>
                </c:pt>
                <c:pt idx="4">
                  <c:v>150ML</c:v>
                </c:pt>
                <c:pt idx="5">
                  <c:v>180ML</c:v>
                </c:pt>
                <c:pt idx="6">
                  <c:v>240ML</c:v>
                </c:pt>
              </c:strCache>
            </c:strRef>
          </c:cat>
          <c:val>
            <c:numRef>
              <c:f>Sheet1!$D$2:$D$8</c:f>
              <c:numCache>
                <c:formatCode>General</c:formatCode>
                <c:ptCount val="7"/>
                <c:pt idx="0">
                  <c:v>66.25925000000001</c:v>
                </c:pt>
                <c:pt idx="1">
                  <c:v>79.5111</c:v>
                </c:pt>
                <c:pt idx="2">
                  <c:v>119.26665</c:v>
                </c:pt>
                <c:pt idx="3">
                  <c:v>159.0222</c:v>
                </c:pt>
                <c:pt idx="4">
                  <c:v>198.77775</c:v>
                </c:pt>
                <c:pt idx="5">
                  <c:v>238.5333</c:v>
                </c:pt>
                <c:pt idx="6">
                  <c:v>318.044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45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1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t>5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t>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E$2:$E$8</c:f>
              <c:numCache>
                <c:formatCode>General</c:formatCode>
                <c:ptCount val="7"/>
                <c:pt idx="0">
                  <c:v>216.629625</c:v>
                </c:pt>
                <c:pt idx="1">
                  <c:v>88.55019999999999</c:v>
                </c:pt>
                <c:pt idx="2">
                  <c:v>124.418975</c:v>
                </c:pt>
                <c:pt idx="3">
                  <c:v>144.1645</c:v>
                </c:pt>
                <c:pt idx="4">
                  <c:v>216.325875</c:v>
                </c:pt>
                <c:pt idx="5">
                  <c:v>298.5221</c:v>
                </c:pt>
                <c:pt idx="6">
                  <c:v>318.044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20.27503</c:v>
                </c:pt>
                <c:pt idx="1">
                  <c:v>82.6391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79.78</a:t>
                    </a:r>
                  </a:p>
                </c:rich>
              </c:tx>
              <c:dLblPos val="t"/>
              <c:showLegendKey val="0"/>
              <c:showVal val="1"/>
              <c:showCatName val="0"/>
              <c:showSerName val="0"/>
              <c:showPercent val="0"/>
              <c:showBubbleSize val="0"/>
            </c:dLbl>
            <c:dLbl>
              <c:idx val="1"/>
              <c:tx>
                <c:rich>
                  <a:bodyPr/>
                  <a:lstStyle/>
                  <a:p>
                    <a:r>
                      <a:t>290.6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279.7761</c:v>
                </c:pt>
                <c:pt idx="1">
                  <c:v>290.675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21.70134745762712</c:v>
                </c:pt>
                <c:pt idx="1">
                  <c:v>290.675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250.73872372881357</c:v>
                </c:pt>
                <c:pt idx="1">
                  <c:v>290.675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6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60ML</c:v>
                </c:pt>
                <c:pt idx="1">
                  <c:v>180ML</c:v>
                </c:pt>
                <c:pt idx="2">
                  <c:v>240ML</c:v>
                </c:pt>
              </c:strCache>
            </c:strRef>
          </c:cat>
          <c:val>
            <c:numRef>
              <c:f>Sheet1!$B$2:$B$4</c:f>
              <c:numCache>
                <c:formatCode>General</c:formatCode>
                <c:ptCount val="3"/>
                <c:pt idx="0">
                  <c:v>46.8964</c:v>
                </c:pt>
                <c:pt idx="1">
                  <c:v>17.3666</c:v>
                </c:pt>
                <c:pt idx="2">
                  <c:v>68.4566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8.43</a:t>
                    </a:r>
                  </a:p>
                </c:rich>
              </c:tx>
              <c:dLblPos val="t"/>
              <c:showLegendKey val="0"/>
              <c:showVal val="1"/>
              <c:showCatName val="0"/>
              <c:showSerName val="0"/>
              <c:showPercent val="0"/>
              <c:showBubbleSize val="0"/>
            </c:dLbl>
            <c:dLbl>
              <c:idx val="1"/>
              <c:tx>
                <c:rich>
                  <a:bodyPr/>
                  <a:lstStyle/>
                  <a:p>
                    <a:r>
                      <a:t>254.66</a:t>
                    </a:r>
                  </a:p>
                </c:rich>
              </c:tx>
              <c:dLblPos val="t"/>
              <c:showLegendKey val="0"/>
              <c:showVal val="1"/>
              <c:showCatName val="0"/>
              <c:showSerName val="0"/>
              <c:showPercent val="0"/>
              <c:showBubbleSize val="0"/>
            </c:dLbl>
            <c:dLbl>
              <c:idx val="2"/>
              <c:tx>
                <c:rich>
                  <a:bodyPr/>
                  <a:lstStyle/>
                  <a:p>
                    <a:r>
                      <a:t>310.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60ML</c:v>
                </c:pt>
                <c:pt idx="1">
                  <c:v>180ML</c:v>
                </c:pt>
                <c:pt idx="2">
                  <c:v>240ML</c:v>
                </c:pt>
              </c:strCache>
            </c:strRef>
          </c:cat>
          <c:val>
            <c:numRef>
              <c:f>Sheet1!$C$2:$C$4</c:f>
              <c:numCache>
                <c:formatCode>General</c:formatCode>
                <c:ptCount val="3"/>
                <c:pt idx="0">
                  <c:v>88.4252</c:v>
                </c:pt>
                <c:pt idx="1">
                  <c:v>254.6616</c:v>
                </c:pt>
                <c:pt idx="2">
                  <c:v>310.198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60ML</c:v>
                </c:pt>
                <c:pt idx="1">
                  <c:v>180ML</c:v>
                </c:pt>
                <c:pt idx="2">
                  <c:v>240ML</c:v>
                </c:pt>
              </c:strCache>
            </c:strRef>
          </c:cat>
          <c:val>
            <c:numRef>
              <c:f>Sheet1!$D$2:$D$4</c:f>
              <c:numCache>
                <c:formatCode>General</c:formatCode>
                <c:ptCount val="3"/>
                <c:pt idx="0">
                  <c:v>88.4252</c:v>
                </c:pt>
                <c:pt idx="1">
                  <c:v>265.2756</c:v>
                </c:pt>
                <c:pt idx="2">
                  <c:v>353.70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60ML</c:v>
                </c:pt>
                <c:pt idx="1">
                  <c:v>180ML</c:v>
                </c:pt>
                <c:pt idx="2">
                  <c:v>240ML</c:v>
                </c:pt>
              </c:strCache>
            </c:strRef>
          </c:cat>
          <c:val>
            <c:numRef>
              <c:f>Sheet1!$E$2:$E$4</c:f>
              <c:numCache>
                <c:formatCode>General</c:formatCode>
                <c:ptCount val="3"/>
                <c:pt idx="0">
                  <c:v>88.4252</c:v>
                </c:pt>
                <c:pt idx="1">
                  <c:v>259.9686</c:v>
                </c:pt>
                <c:pt idx="2">
                  <c:v>331.9494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3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180ML</c:v>
                </c:pt>
              </c:strCache>
            </c:strRef>
          </c:cat>
          <c:val>
            <c:numRef>
              <c:f>Sheet1!$B$2:$B$3</c:f>
              <c:numCache>
                <c:formatCode>General</c:formatCode>
                <c:ptCount val="2"/>
                <c:pt idx="0">
                  <c:v>68.116</c:v>
                </c:pt>
                <c:pt idx="1">
                  <c:v>0.1596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7.28</a:t>
                    </a:r>
                  </a:p>
                </c:rich>
              </c:tx>
              <c:dLblPos val="t"/>
              <c:showLegendKey val="0"/>
              <c:showVal val="1"/>
              <c:showCatName val="0"/>
              <c:showSerName val="0"/>
              <c:showPercent val="0"/>
              <c:showBubbleSize val="0"/>
            </c:dLbl>
            <c:dLbl>
              <c:idx val="1"/>
              <c:tx>
                <c:rich>
                  <a:bodyPr/>
                  <a:lstStyle/>
                  <a:p>
                    <a:r>
                      <a:t>268.3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180ML</c:v>
                </c:pt>
              </c:strCache>
            </c:strRef>
          </c:cat>
          <c:val>
            <c:numRef>
              <c:f>Sheet1!$C$2:$C$3</c:f>
              <c:numCache>
                <c:formatCode>General</c:formatCode>
                <c:ptCount val="2"/>
                <c:pt idx="0">
                  <c:v>317.2764</c:v>
                </c:pt>
                <c:pt idx="1">
                  <c:v>268.384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180ML</c:v>
                </c:pt>
              </c:strCache>
            </c:strRef>
          </c:cat>
          <c:val>
            <c:numRef>
              <c:f>Sheet1!$D$2:$D$3</c:f>
              <c:numCache>
                <c:formatCode>General</c:formatCode>
                <c:ptCount val="2"/>
                <c:pt idx="0">
                  <c:v>317.2764</c:v>
                </c:pt>
                <c:pt idx="1">
                  <c:v>335.9397176470588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180ML</c:v>
                </c:pt>
              </c:strCache>
            </c:strRef>
          </c:cat>
          <c:val>
            <c:numRef>
              <c:f>Sheet1!$E$2:$E$3</c:f>
              <c:numCache>
                <c:formatCode>General</c:formatCode>
                <c:ptCount val="2"/>
                <c:pt idx="0">
                  <c:v>317.2764</c:v>
                </c:pt>
                <c:pt idx="1">
                  <c:v>302.162158823529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3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6</c:f>
              <c:strCache>
                <c:ptCount val="5"/>
                <c:pt idx="0">
                  <c:v>60ML</c:v>
                </c:pt>
                <c:pt idx="1">
                  <c:v>118ML</c:v>
                </c:pt>
                <c:pt idx="2">
                  <c:v>180ML</c:v>
                </c:pt>
                <c:pt idx="3">
                  <c:v>236ML</c:v>
                </c:pt>
                <c:pt idx="4">
                  <c:v>472ML</c:v>
                </c:pt>
              </c:strCache>
            </c:strRef>
          </c:cat>
          <c:val>
            <c:numRef>
              <c:f>Sheet1!$B$2:$B$6</c:f>
              <c:numCache>
                <c:formatCode>General</c:formatCode>
                <c:ptCount val="5"/>
                <c:pt idx="0">
                  <c:v>9.37545</c:v>
                </c:pt>
                <c:pt idx="1">
                  <c:v>4.01635</c:v>
                </c:pt>
                <c:pt idx="2">
                  <c:v>65.29409</c:v>
                </c:pt>
                <c:pt idx="3">
                  <c:v>60.90439</c:v>
                </c:pt>
                <c:pt idx="4">
                  <c:v>0.0118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8.16</a:t>
                    </a:r>
                  </a:p>
                </c:rich>
              </c:tx>
              <c:dLblPos val="t"/>
              <c:showLegendKey val="0"/>
              <c:showVal val="1"/>
              <c:showCatName val="0"/>
              <c:showSerName val="0"/>
              <c:showPercent val="0"/>
              <c:showBubbleSize val="0"/>
            </c:dLbl>
            <c:dLbl>
              <c:idx val="1"/>
              <c:tx>
                <c:rich>
                  <a:bodyPr/>
                  <a:lstStyle/>
                  <a:p>
                    <a:r>
                      <a:t>161.17</a:t>
                    </a:r>
                  </a:p>
                </c:rich>
              </c:tx>
              <c:dLblPos val="t"/>
              <c:showLegendKey val="0"/>
              <c:showVal val="1"/>
              <c:showCatName val="0"/>
              <c:showSerName val="0"/>
              <c:showPercent val="0"/>
              <c:showBubbleSize val="0"/>
            </c:dLbl>
            <c:dLbl>
              <c:idx val="2"/>
              <c:tx>
                <c:rich>
                  <a:bodyPr/>
                  <a:lstStyle/>
                  <a:p>
                    <a:r>
                      <a:t>332.13</a:t>
                    </a:r>
                  </a:p>
                </c:rich>
              </c:tx>
              <c:dLblPos val="t"/>
              <c:showLegendKey val="0"/>
              <c:showVal val="1"/>
              <c:showCatName val="0"/>
              <c:showSerName val="0"/>
              <c:showPercent val="0"/>
              <c:showBubbleSize val="0"/>
            </c:dLbl>
            <c:dLbl>
              <c:idx val="3"/>
              <c:tx>
                <c:rich>
                  <a:bodyPr/>
                  <a:lstStyle/>
                  <a:p>
                    <a:r>
                      <a:t>269.13</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57.81</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60ML</c:v>
                </c:pt>
                <c:pt idx="1">
                  <c:v>118ML</c:v>
                </c:pt>
                <c:pt idx="2">
                  <c:v>180ML</c:v>
                </c:pt>
                <c:pt idx="3">
                  <c:v>236ML</c:v>
                </c:pt>
                <c:pt idx="4">
                  <c:v>472ML</c:v>
                </c:pt>
              </c:strCache>
            </c:strRef>
          </c:cat>
          <c:val>
            <c:numRef>
              <c:f>Sheet1!$C$2:$C$6</c:f>
              <c:numCache>
                <c:formatCode>General</c:formatCode>
                <c:ptCount val="5"/>
                <c:pt idx="0">
                  <c:v>288.1616</c:v>
                </c:pt>
                <c:pt idx="1">
                  <c:v>161.1741</c:v>
                </c:pt>
                <c:pt idx="2">
                  <c:v>332.1276</c:v>
                </c:pt>
                <c:pt idx="3">
                  <c:v>269.1315</c:v>
                </c:pt>
                <c:pt idx="4">
                  <c:v>257.809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6</c:f>
              <c:strCache>
                <c:ptCount val="5"/>
                <c:pt idx="0">
                  <c:v>60ML</c:v>
                </c:pt>
                <c:pt idx="1">
                  <c:v>118ML</c:v>
                </c:pt>
                <c:pt idx="2">
                  <c:v>180ML</c:v>
                </c:pt>
                <c:pt idx="3">
                  <c:v>236ML</c:v>
                </c:pt>
                <c:pt idx="4">
                  <c:v>472ML</c:v>
                </c:pt>
              </c:strCache>
            </c:strRef>
          </c:cat>
          <c:val>
            <c:numRef>
              <c:f>Sheet1!$D$2:$D$6</c:f>
              <c:numCache>
                <c:formatCode>General</c:formatCode>
                <c:ptCount val="5"/>
                <c:pt idx="0">
                  <c:v>68.42326271186441</c:v>
                </c:pt>
                <c:pt idx="1">
                  <c:v>134.56575</c:v>
                </c:pt>
                <c:pt idx="2">
                  <c:v>205.26978813559322</c:v>
                </c:pt>
                <c:pt idx="3">
                  <c:v>269.1315</c:v>
                </c:pt>
                <c:pt idx="4">
                  <c:v>538.26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2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6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5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60ML</c:v>
                </c:pt>
                <c:pt idx="1">
                  <c:v>118ML</c:v>
                </c:pt>
                <c:pt idx="2">
                  <c:v>180ML</c:v>
                </c:pt>
                <c:pt idx="3">
                  <c:v>236ML</c:v>
                </c:pt>
                <c:pt idx="4">
                  <c:v>472ML</c:v>
                </c:pt>
              </c:strCache>
            </c:strRef>
          </c:cat>
          <c:val>
            <c:numRef>
              <c:f>Sheet1!$E$2:$E$6</c:f>
              <c:numCache>
                <c:formatCode>General</c:formatCode>
                <c:ptCount val="5"/>
                <c:pt idx="0">
                  <c:v>178.29243135593222</c:v>
                </c:pt>
                <c:pt idx="1">
                  <c:v>147.86992500000002</c:v>
                </c:pt>
                <c:pt idx="2">
                  <c:v>268.6986940677966</c:v>
                </c:pt>
                <c:pt idx="3">
                  <c:v>269.1315</c:v>
                </c:pt>
                <c:pt idx="4">
                  <c:v>398.036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3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340ML</c:v>
                </c:pt>
              </c:strCache>
            </c:strRef>
          </c:cat>
          <c:val>
            <c:numRef>
              <c:f>Sheet1!$B$2:$B$3</c:f>
              <c:numCache>
                <c:formatCode>General</c:formatCode>
                <c:ptCount val="2"/>
                <c:pt idx="0">
                  <c:v>1.88945</c:v>
                </c:pt>
                <c:pt idx="1">
                  <c:v>0.7270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09.74</a:t>
                    </a:r>
                  </a:p>
                </c:rich>
              </c:tx>
              <c:dLblPos val="t"/>
              <c:showLegendKey val="0"/>
              <c:showVal val="1"/>
              <c:showCatName val="0"/>
              <c:showSerName val="0"/>
              <c:showPercent val="0"/>
              <c:showBubbleSize val="0"/>
            </c:dLbl>
            <c:dLbl>
              <c:idx val="1"/>
              <c:tx>
                <c:rich>
                  <a:bodyPr/>
                  <a:lstStyle/>
                  <a:p>
                    <a:r>
                      <a:t>244.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340ML</c:v>
                </c:pt>
              </c:strCache>
            </c:strRef>
          </c:cat>
          <c:val>
            <c:numRef>
              <c:f>Sheet1!$C$2:$C$3</c:f>
              <c:numCache>
                <c:formatCode>General</c:formatCode>
                <c:ptCount val="2"/>
                <c:pt idx="0">
                  <c:v>309.7361</c:v>
                </c:pt>
                <c:pt idx="1">
                  <c:v>244.932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340ML</c:v>
                </c:pt>
              </c:strCache>
            </c:strRef>
          </c:cat>
          <c:val>
            <c:numRef>
              <c:f>Sheet1!$D$2:$D$3</c:f>
              <c:numCache>
                <c:formatCode>General</c:formatCode>
                <c:ptCount val="2"/>
                <c:pt idx="0">
                  <c:v>309.7361</c:v>
                </c:pt>
                <c:pt idx="1">
                  <c:v>619.472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340ML</c:v>
                </c:pt>
              </c:strCache>
            </c:strRef>
          </c:cat>
          <c:val>
            <c:numRef>
              <c:f>Sheet1!$E$2:$E$3</c:f>
              <c:numCache>
                <c:formatCode>General</c:formatCode>
                <c:ptCount val="2"/>
                <c:pt idx="0">
                  <c:v>309.7361</c:v>
                </c:pt>
                <c:pt idx="1">
                  <c:v>432.2023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20.48165</c:v>
                </c:pt>
                <c:pt idx="1">
                  <c:v>159.1683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1.72</a:t>
                    </a:r>
                  </a:p>
                </c:rich>
              </c:tx>
              <c:dLblPos val="t"/>
              <c:showLegendKey val="0"/>
              <c:showVal val="1"/>
              <c:showCatName val="0"/>
              <c:showSerName val="0"/>
              <c:showPercent val="0"/>
              <c:showBubbleSize val="0"/>
            </c:dLbl>
            <c:dLbl>
              <c:idx val="1"/>
              <c:tx>
                <c:rich>
                  <a:bodyPr/>
                  <a:lstStyle/>
                  <a:p>
                    <a:r>
                      <a:t>303.9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311.7187</c:v>
                </c:pt>
                <c:pt idx="1">
                  <c:v>303.98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31.85372881355931</c:v>
                </c:pt>
                <c:pt idx="1">
                  <c:v>303.98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271.78621440677966</c:v>
                </c:pt>
                <c:pt idx="1">
                  <c:v>303.98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31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220ML</c:v>
                </c:pt>
              </c:strCache>
            </c:strRef>
          </c:cat>
          <c:val>
            <c:numRef>
              <c:f>Sheet1!$B$2:$B$3</c:f>
              <c:numCache>
                <c:formatCode>General</c:formatCode>
                <c:ptCount val="2"/>
                <c:pt idx="0">
                  <c:v>9.89177</c:v>
                </c:pt>
                <c:pt idx="1">
                  <c:v>77.5479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8.77</a:t>
                    </a:r>
                  </a:p>
                </c:rich>
              </c:tx>
              <c:dLblPos val="t"/>
              <c:showLegendKey val="0"/>
              <c:showVal val="1"/>
              <c:showCatName val="0"/>
              <c:showSerName val="0"/>
              <c:showPercent val="0"/>
              <c:showBubbleSize val="0"/>
            </c:dLbl>
            <c:dLbl>
              <c:idx val="1"/>
              <c:tx>
                <c:rich>
                  <a:bodyPr/>
                  <a:lstStyle/>
                  <a:p>
                    <a:r>
                      <a:t>316.0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220ML</c:v>
                </c:pt>
              </c:strCache>
            </c:strRef>
          </c:cat>
          <c:val>
            <c:numRef>
              <c:f>Sheet1!$C$2:$C$3</c:f>
              <c:numCache>
                <c:formatCode>General</c:formatCode>
                <c:ptCount val="2"/>
                <c:pt idx="0">
                  <c:v>288.772</c:v>
                </c:pt>
                <c:pt idx="1">
                  <c:v>316.045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220ML</c:v>
                </c:pt>
              </c:strCache>
            </c:strRef>
          </c:cat>
          <c:val>
            <c:numRef>
              <c:f>Sheet1!$D$2:$D$3</c:f>
              <c:numCache>
                <c:formatCode>General</c:formatCode>
                <c:ptCount val="2"/>
                <c:pt idx="0">
                  <c:v>244.21682272727273</c:v>
                </c:pt>
                <c:pt idx="1">
                  <c:v>316.045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220ML</c:v>
                </c:pt>
              </c:strCache>
            </c:strRef>
          </c:cat>
          <c:val>
            <c:numRef>
              <c:f>Sheet1!$E$2:$E$3</c:f>
              <c:numCache>
                <c:formatCode>General</c:formatCode>
                <c:ptCount val="2"/>
                <c:pt idx="0">
                  <c:v>266.49441136363635</c:v>
                </c:pt>
                <c:pt idx="1">
                  <c:v>316.045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5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180ML</c:v>
                </c:pt>
              </c:strCache>
            </c:strRef>
          </c:cat>
          <c:val>
            <c:numRef>
              <c:f>Sheet1!$B$2:$B$3</c:f>
              <c:numCache>
                <c:formatCode>General</c:formatCode>
                <c:ptCount val="2"/>
                <c:pt idx="0">
                  <c:v>10.87433</c:v>
                </c:pt>
                <c:pt idx="1">
                  <c:v>26.5294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8.81</a:t>
                    </a:r>
                  </a:p>
                </c:rich>
              </c:tx>
              <c:dLblPos val="t"/>
              <c:showLegendKey val="0"/>
              <c:showVal val="1"/>
              <c:showCatName val="0"/>
              <c:showSerName val="0"/>
              <c:showPercent val="0"/>
              <c:showBubbleSize val="0"/>
            </c:dLbl>
            <c:dLbl>
              <c:idx val="1"/>
              <c:tx>
                <c:rich>
                  <a:bodyPr/>
                  <a:lstStyle/>
                  <a:p>
                    <a:r>
                      <a:t>333.9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180ML</c:v>
                </c:pt>
              </c:strCache>
            </c:strRef>
          </c:cat>
          <c:val>
            <c:numRef>
              <c:f>Sheet1!$C$2:$C$3</c:f>
              <c:numCache>
                <c:formatCode>General</c:formatCode>
                <c:ptCount val="2"/>
                <c:pt idx="0">
                  <c:v>88.8141</c:v>
                </c:pt>
                <c:pt idx="1">
                  <c:v>333.977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180ML</c:v>
                </c:pt>
              </c:strCache>
            </c:strRef>
          </c:cat>
          <c:val>
            <c:numRef>
              <c:f>Sheet1!$D$2:$D$3</c:f>
              <c:numCache>
                <c:formatCode>General</c:formatCode>
                <c:ptCount val="2"/>
                <c:pt idx="0">
                  <c:v>88.8141</c:v>
                </c:pt>
                <c:pt idx="1">
                  <c:v>266.442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180ML</c:v>
                </c:pt>
              </c:strCache>
            </c:strRef>
          </c:cat>
          <c:val>
            <c:numRef>
              <c:f>Sheet1!$E$2:$E$3</c:f>
              <c:numCache>
                <c:formatCode>General</c:formatCode>
                <c:ptCount val="2"/>
                <c:pt idx="0">
                  <c:v>88.8141</c:v>
                </c:pt>
                <c:pt idx="1">
                  <c:v>300.210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00ML</c:v>
                </c:pt>
                <c:pt idx="1">
                  <c:v>350ML</c:v>
                </c:pt>
              </c:strCache>
            </c:strRef>
          </c:cat>
          <c:val>
            <c:numRef>
              <c:f>Sheet1!$B$2:$B$3</c:f>
              <c:numCache>
                <c:formatCode>General</c:formatCode>
                <c:ptCount val="2"/>
                <c:pt idx="0">
                  <c:v>1.10903</c:v>
                </c:pt>
                <c:pt idx="1">
                  <c:v>0.2765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77.69</a:t>
                    </a:r>
                  </a:p>
                </c:rich>
              </c:tx>
              <c:dLblPos val="t"/>
              <c:showLegendKey val="0"/>
              <c:showVal val="1"/>
              <c:showCatName val="0"/>
              <c:showSerName val="0"/>
              <c:showPercent val="0"/>
              <c:showBubbleSize val="0"/>
            </c:dLbl>
            <c:dLbl>
              <c:idx val="1"/>
              <c:tx>
                <c:rich>
                  <a:bodyPr/>
                  <a:lstStyle/>
                  <a:p>
                    <a:r>
                      <a:t>444.8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00ML</c:v>
                </c:pt>
                <c:pt idx="1">
                  <c:v>350ML</c:v>
                </c:pt>
              </c:strCache>
            </c:strRef>
          </c:cat>
          <c:val>
            <c:numRef>
              <c:f>Sheet1!$C$2:$C$3</c:f>
              <c:numCache>
                <c:formatCode>General</c:formatCode>
                <c:ptCount val="2"/>
                <c:pt idx="0">
                  <c:v>377.6904</c:v>
                </c:pt>
                <c:pt idx="1">
                  <c:v>444.841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00ML</c:v>
                </c:pt>
                <c:pt idx="1">
                  <c:v>350ML</c:v>
                </c:pt>
              </c:strCache>
            </c:strRef>
          </c:cat>
          <c:val>
            <c:numRef>
              <c:f>Sheet1!$D$2:$D$3</c:f>
              <c:numCache>
                <c:formatCode>General</c:formatCode>
                <c:ptCount val="2"/>
                <c:pt idx="0">
                  <c:v>377.6904</c:v>
                </c:pt>
                <c:pt idx="1">
                  <c:v>440.638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00ML</c:v>
                </c:pt>
                <c:pt idx="1">
                  <c:v>350ML</c:v>
                </c:pt>
              </c:strCache>
            </c:strRef>
          </c:cat>
          <c:val>
            <c:numRef>
              <c:f>Sheet1!$E$2:$E$3</c:f>
              <c:numCache>
                <c:formatCode>General</c:formatCode>
                <c:ptCount val="2"/>
                <c:pt idx="0">
                  <c:v>377.6904</c:v>
                </c:pt>
                <c:pt idx="1">
                  <c:v>442.7400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90ML</c:v>
                </c:pt>
                <c:pt idx="1">
                  <c:v>120ML</c:v>
                </c:pt>
                <c:pt idx="2">
                  <c:v>240ML</c:v>
                </c:pt>
              </c:strCache>
            </c:strRef>
          </c:cat>
          <c:val>
            <c:numRef>
              <c:f>Sheet1!$B$2:$B$4</c:f>
              <c:numCache>
                <c:formatCode>General</c:formatCode>
                <c:ptCount val="3"/>
                <c:pt idx="0">
                  <c:v>0.01891</c:v>
                </c:pt>
                <c:pt idx="1">
                  <c:v>58.97614</c:v>
                </c:pt>
                <c:pt idx="2">
                  <c:v>288.607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4.0</a:t>
                    </a:r>
                  </a:p>
                </c:rich>
              </c:tx>
              <c:dLblPos val="t"/>
              <c:showLegendKey val="0"/>
              <c:showVal val="1"/>
              <c:showCatName val="0"/>
              <c:showSerName val="0"/>
              <c:showPercent val="0"/>
              <c:showBubbleSize val="0"/>
            </c:dLbl>
            <c:dLbl>
              <c:idx val="1"/>
              <c:tx>
                <c:rich>
                  <a:bodyPr/>
                  <a:lstStyle/>
                  <a:p>
                    <a:r>
                      <a:t>189.81</a:t>
                    </a:r>
                  </a:p>
                </c:rich>
              </c:tx>
              <c:dLblPos val="t"/>
              <c:showLegendKey val="0"/>
              <c:showVal val="1"/>
              <c:showCatName val="0"/>
              <c:showSerName val="0"/>
              <c:showPercent val="0"/>
              <c:showBubbleSize val="0"/>
            </c:dLbl>
            <c:dLbl>
              <c:idx val="2"/>
              <c:tx>
                <c:rich>
                  <a:bodyPr/>
                  <a:lstStyle/>
                  <a:p>
                    <a:r>
                      <a:t>304.7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90ML</c:v>
                </c:pt>
                <c:pt idx="1">
                  <c:v>120ML</c:v>
                </c:pt>
                <c:pt idx="2">
                  <c:v>240ML</c:v>
                </c:pt>
              </c:strCache>
            </c:strRef>
          </c:cat>
          <c:val>
            <c:numRef>
              <c:f>Sheet1!$C$2:$C$4</c:f>
              <c:numCache>
                <c:formatCode>General</c:formatCode>
                <c:ptCount val="3"/>
                <c:pt idx="0">
                  <c:v>94.0</c:v>
                </c:pt>
                <c:pt idx="1">
                  <c:v>189.8137</c:v>
                </c:pt>
                <c:pt idx="2">
                  <c:v>304.707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90ML</c:v>
                </c:pt>
                <c:pt idx="1">
                  <c:v>120ML</c:v>
                </c:pt>
                <c:pt idx="2">
                  <c:v>240ML</c:v>
                </c:pt>
              </c:strCache>
            </c:strRef>
          </c:cat>
          <c:val>
            <c:numRef>
              <c:f>Sheet1!$D$2:$D$4</c:f>
              <c:numCache>
                <c:formatCode>General</c:formatCode>
                <c:ptCount val="3"/>
                <c:pt idx="0">
                  <c:v>114.2653125</c:v>
                </c:pt>
                <c:pt idx="1">
                  <c:v>152.35375</c:v>
                </c:pt>
                <c:pt idx="2">
                  <c:v>304.707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90ML</c:v>
                </c:pt>
                <c:pt idx="1">
                  <c:v>120ML</c:v>
                </c:pt>
                <c:pt idx="2">
                  <c:v>240ML</c:v>
                </c:pt>
              </c:strCache>
            </c:strRef>
          </c:cat>
          <c:val>
            <c:numRef>
              <c:f>Sheet1!$E$2:$E$4</c:f>
              <c:numCache>
                <c:formatCode>General</c:formatCode>
                <c:ptCount val="3"/>
                <c:pt idx="0">
                  <c:v>104.13265625</c:v>
                </c:pt>
                <c:pt idx="1">
                  <c:v>171.08372500000002</c:v>
                </c:pt>
                <c:pt idx="2">
                  <c:v>304.707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7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6</c:f>
              <c:strCache>
                <c:ptCount val="5"/>
                <c:pt idx="0">
                  <c:v>100ML</c:v>
                </c:pt>
                <c:pt idx="1">
                  <c:v>150ML</c:v>
                </c:pt>
                <c:pt idx="2">
                  <c:v>177ML</c:v>
                </c:pt>
                <c:pt idx="3">
                  <c:v>180ML</c:v>
                </c:pt>
                <c:pt idx="4">
                  <c:v>220ML</c:v>
                </c:pt>
              </c:strCache>
            </c:strRef>
          </c:cat>
          <c:val>
            <c:numRef>
              <c:f>Sheet1!$B$2:$B$6</c:f>
              <c:numCache>
                <c:formatCode>General</c:formatCode>
                <c:ptCount val="5"/>
                <c:pt idx="0">
                  <c:v>1.68012</c:v>
                </c:pt>
                <c:pt idx="1">
                  <c:v>4.63548</c:v>
                </c:pt>
                <c:pt idx="2">
                  <c:v>5.29649</c:v>
                </c:pt>
                <c:pt idx="3">
                  <c:v>16.54214</c:v>
                </c:pt>
                <c:pt idx="4">
                  <c:v>9.541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66.98</a:t>
                    </a:r>
                  </a:p>
                </c:rich>
              </c:tx>
              <c:dLblPos val="t"/>
              <c:showLegendKey val="0"/>
              <c:showVal val="1"/>
              <c:showCatName val="0"/>
              <c:showSerName val="0"/>
              <c:showPercent val="0"/>
              <c:showBubbleSize val="0"/>
            </c:dLbl>
            <c:dLbl>
              <c:idx val="1"/>
              <c:tx>
                <c:rich>
                  <a:bodyPr/>
                  <a:lstStyle/>
                  <a:p>
                    <a:r>
                      <a:t>272.33</a:t>
                    </a:r>
                  </a:p>
                </c:rich>
              </c:tx>
              <c:dLblPos val="t"/>
              <c:showLegendKey val="0"/>
              <c:showVal val="1"/>
              <c:showCatName val="0"/>
              <c:showSerName val="0"/>
              <c:showPercent val="0"/>
              <c:showBubbleSize val="0"/>
            </c:dLbl>
            <c:dLbl>
              <c:idx val="2"/>
              <c:tx>
                <c:rich>
                  <a:bodyPr/>
                  <a:lstStyle/>
                  <a:p>
                    <a:r>
                      <a:t>252.72</a:t>
                    </a:r>
                  </a:p>
                </c:rich>
              </c:tx>
              <c:dLblPos val="t"/>
              <c:showLegendKey val="0"/>
              <c:showVal val="1"/>
              <c:showCatName val="0"/>
              <c:showSerName val="0"/>
              <c:showPercent val="0"/>
              <c:showBubbleSize val="0"/>
            </c:dLbl>
            <c:dLbl>
              <c:idx val="3"/>
              <c:tx>
                <c:rich>
                  <a:bodyPr/>
                  <a:lstStyle/>
                  <a:p>
                    <a:r>
                      <a:t>306.48</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313.71</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100ML</c:v>
                </c:pt>
                <c:pt idx="1">
                  <c:v>150ML</c:v>
                </c:pt>
                <c:pt idx="2">
                  <c:v>177ML</c:v>
                </c:pt>
                <c:pt idx="3">
                  <c:v>180ML</c:v>
                </c:pt>
                <c:pt idx="4">
                  <c:v>220ML</c:v>
                </c:pt>
              </c:strCache>
            </c:strRef>
          </c:cat>
          <c:val>
            <c:numRef>
              <c:f>Sheet1!$C$2:$C$6</c:f>
              <c:numCache>
                <c:formatCode>General</c:formatCode>
                <c:ptCount val="5"/>
                <c:pt idx="0">
                  <c:v>366.9762</c:v>
                </c:pt>
                <c:pt idx="1">
                  <c:v>272.3261</c:v>
                </c:pt>
                <c:pt idx="2">
                  <c:v>252.7216</c:v>
                </c:pt>
                <c:pt idx="3">
                  <c:v>306.4804</c:v>
                </c:pt>
                <c:pt idx="4">
                  <c:v>313.712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6</c:f>
              <c:strCache>
                <c:ptCount val="5"/>
                <c:pt idx="0">
                  <c:v>100ML</c:v>
                </c:pt>
                <c:pt idx="1">
                  <c:v>150ML</c:v>
                </c:pt>
                <c:pt idx="2">
                  <c:v>177ML</c:v>
                </c:pt>
                <c:pt idx="3">
                  <c:v>180ML</c:v>
                </c:pt>
                <c:pt idx="4">
                  <c:v>220ML</c:v>
                </c:pt>
              </c:strCache>
            </c:strRef>
          </c:cat>
          <c:val>
            <c:numRef>
              <c:f>Sheet1!$D$2:$D$6</c:f>
              <c:numCache>
                <c:formatCode>General</c:formatCode>
                <c:ptCount val="5"/>
                <c:pt idx="0">
                  <c:v>170.26688888888887</c:v>
                </c:pt>
                <c:pt idx="1">
                  <c:v>255.40033333333332</c:v>
                </c:pt>
                <c:pt idx="2">
                  <c:v>301.3723933333333</c:v>
                </c:pt>
                <c:pt idx="3">
                  <c:v>306.4804</c:v>
                </c:pt>
                <c:pt idx="4">
                  <c:v>374.587155555555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100ML</c:v>
                </c:pt>
                <c:pt idx="1">
                  <c:v>150ML</c:v>
                </c:pt>
                <c:pt idx="2">
                  <c:v>177ML</c:v>
                </c:pt>
                <c:pt idx="3">
                  <c:v>180ML</c:v>
                </c:pt>
                <c:pt idx="4">
                  <c:v>220ML</c:v>
                </c:pt>
              </c:strCache>
            </c:strRef>
          </c:cat>
          <c:val>
            <c:numRef>
              <c:f>Sheet1!$E$2:$E$6</c:f>
              <c:numCache>
                <c:formatCode>General</c:formatCode>
                <c:ptCount val="5"/>
                <c:pt idx="0">
                  <c:v>268.62154444444445</c:v>
                </c:pt>
                <c:pt idx="1">
                  <c:v>263.86321666666663</c:v>
                </c:pt>
                <c:pt idx="2">
                  <c:v>277.04699666666664</c:v>
                </c:pt>
                <c:pt idx="3">
                  <c:v>306.4804</c:v>
                </c:pt>
                <c:pt idx="4">
                  <c:v>344.15002777777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3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5"/>
              <c:tx>
                <c:rich>
                  <a:bodyPr/>
                  <a:lstStyle/>
                  <a:p/>
                </c:rich>
              </c:tx>
              <c:showLegendKey val="0"/>
              <c:showVal val="1"/>
              <c:showCatName val="0"/>
              <c:showSerName val="0"/>
              <c:showPercent val="0"/>
              <c:showBubbleSize val="0"/>
            </c:dLbl>
            <c:dLbl>
              <c:idx val="6"/>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50ML</c:v>
                </c:pt>
                <c:pt idx="1">
                  <c:v>60ML</c:v>
                </c:pt>
                <c:pt idx="2">
                  <c:v>90ML</c:v>
                </c:pt>
                <c:pt idx="3">
                  <c:v>120ML</c:v>
                </c:pt>
                <c:pt idx="4">
                  <c:v>150ML</c:v>
                </c:pt>
                <c:pt idx="5">
                  <c:v>180ML</c:v>
                </c:pt>
                <c:pt idx="6">
                  <c:v>240ML</c:v>
                </c:pt>
              </c:strCache>
            </c:strRef>
          </c:cat>
          <c:val>
            <c:numRef>
              <c:f>Sheet1!$B$2:$B$8</c:f>
              <c:numCache>
                <c:formatCode>General</c:formatCode>
                <c:ptCount val="7"/>
                <c:pt idx="0">
                  <c:v>5.21615</c:v>
                </c:pt>
                <c:pt idx="1">
                  <c:v>21.02445</c:v>
                </c:pt>
                <c:pt idx="2">
                  <c:v>52.34882</c:v>
                </c:pt>
                <c:pt idx="3">
                  <c:v>26.71756</c:v>
                </c:pt>
                <c:pt idx="4">
                  <c:v>1.45845</c:v>
                </c:pt>
                <c:pt idx="5">
                  <c:v>59.15334</c:v>
                </c:pt>
                <c:pt idx="6">
                  <c:v>223.0694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04.64</a:t>
                    </a:r>
                  </a:p>
                </c:rich>
              </c:tx>
              <c:dLblPos val="t"/>
              <c:showLegendKey val="0"/>
              <c:showVal val="1"/>
              <c:showCatName val="0"/>
              <c:showSerName val="0"/>
              <c:showPercent val="0"/>
              <c:showBubbleSize val="0"/>
            </c:dLbl>
            <c:dLbl>
              <c:idx val="1"/>
              <c:tx>
                <c:rich>
                  <a:bodyPr/>
                  <a:lstStyle/>
                  <a:p>
                    <a:r>
                      <a:t>114.81</a:t>
                    </a:r>
                  </a:p>
                </c:rich>
              </c:tx>
              <c:dLblPos val="t"/>
              <c:showLegendKey val="0"/>
              <c:showVal val="1"/>
              <c:showCatName val="0"/>
              <c:showSerName val="0"/>
              <c:showPercent val="0"/>
              <c:showBubbleSize val="0"/>
            </c:dLbl>
            <c:dLbl>
              <c:idx val="2"/>
              <c:tx>
                <c:rich>
                  <a:bodyPr/>
                  <a:lstStyle/>
                  <a:p>
                    <a:r>
                      <a:t>102.57</a:t>
                    </a:r>
                  </a:p>
                </c:rich>
              </c:tx>
              <c:dLblPos val="t"/>
              <c:showLegendKey val="0"/>
              <c:showVal val="1"/>
              <c:showCatName val="0"/>
              <c:showSerName val="0"/>
              <c:showPercent val="0"/>
              <c:showBubbleSize val="0"/>
            </c:dLbl>
            <c:dLbl>
              <c:idx val="3"/>
              <c:tx>
                <c:rich>
                  <a:bodyPr/>
                  <a:lstStyle/>
                  <a:p>
                    <a:r>
                      <a:t>190.97</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34.19</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dLbl>
              <c:idx val="5"/>
              <c:tx>
                <c:rich>
                  <a:bodyPr/>
                  <a:lstStyle/>
                  <a:p>
                    <a:r>
                      <a:t>308.11</a:t>
                    </a:r>
                  </a:p>
                </c:rich>
              </c:tx>
              <c:dLblPos val="t"/>
              <c:showLegendKey val="0"/>
              <c:showVal val="1"/>
              <c:showCatName val="0"/>
              <c:showSerName val="0"/>
              <c:showPercent val="0"/>
              <c:showBubbleSize val="0"/>
            </c:dLbl>
            <c:dLbl>
              <c:idx val="6"/>
              <c:tx>
                <c:rich>
                  <a:bodyPr/>
                  <a:lstStyle/>
                  <a:p>
                    <a:r>
                      <a:t>304.95</a:t>
                    </a:r>
                  </a:p>
                </c:rich>
              </c:tx>
              <c:dLblPos val="t"/>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C$2:$C$8</c:f>
              <c:numCache>
                <c:formatCode>General</c:formatCode>
                <c:ptCount val="7"/>
                <c:pt idx="0">
                  <c:v>304.6423</c:v>
                </c:pt>
                <c:pt idx="1">
                  <c:v>114.8111</c:v>
                </c:pt>
                <c:pt idx="2">
                  <c:v>102.5661</c:v>
                </c:pt>
                <c:pt idx="3">
                  <c:v>190.9747</c:v>
                </c:pt>
                <c:pt idx="4">
                  <c:v>234.1893</c:v>
                </c:pt>
                <c:pt idx="5">
                  <c:v>308.1109</c:v>
                </c:pt>
                <c:pt idx="6">
                  <c:v>304.95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8</c:f>
              <c:strCache>
                <c:ptCount val="7"/>
                <c:pt idx="0">
                  <c:v>50ML</c:v>
                </c:pt>
                <c:pt idx="1">
                  <c:v>60ML</c:v>
                </c:pt>
                <c:pt idx="2">
                  <c:v>90ML</c:v>
                </c:pt>
                <c:pt idx="3">
                  <c:v>120ML</c:v>
                </c:pt>
                <c:pt idx="4">
                  <c:v>150ML</c:v>
                </c:pt>
                <c:pt idx="5">
                  <c:v>180ML</c:v>
                </c:pt>
                <c:pt idx="6">
                  <c:v>240ML</c:v>
                </c:pt>
              </c:strCache>
            </c:strRef>
          </c:cat>
          <c:val>
            <c:numRef>
              <c:f>Sheet1!$D$2:$D$8</c:f>
              <c:numCache>
                <c:formatCode>General</c:formatCode>
                <c:ptCount val="7"/>
                <c:pt idx="0">
                  <c:v>63.53224999999999</c:v>
                </c:pt>
                <c:pt idx="1">
                  <c:v>76.2387</c:v>
                </c:pt>
                <c:pt idx="2">
                  <c:v>114.35804999999998</c:v>
                </c:pt>
                <c:pt idx="3">
                  <c:v>152.4774</c:v>
                </c:pt>
                <c:pt idx="4">
                  <c:v>190.59674999999996</c:v>
                </c:pt>
                <c:pt idx="5">
                  <c:v>228.71609999999995</c:v>
                </c:pt>
                <c:pt idx="6">
                  <c:v>304.954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8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2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2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t>3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t>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E$2:$E$8</c:f>
              <c:numCache>
                <c:formatCode>General</c:formatCode>
                <c:ptCount val="7"/>
                <c:pt idx="0">
                  <c:v>184.08727499999998</c:v>
                </c:pt>
                <c:pt idx="1">
                  <c:v>95.5249</c:v>
                </c:pt>
                <c:pt idx="2">
                  <c:v>108.462075</c:v>
                </c:pt>
                <c:pt idx="3">
                  <c:v>171.72605</c:v>
                </c:pt>
                <c:pt idx="4">
                  <c:v>212.39302499999997</c:v>
                </c:pt>
                <c:pt idx="5">
                  <c:v>268.4135</c:v>
                </c:pt>
                <c:pt idx="6">
                  <c:v>304.954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4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6</c:f>
              <c:strCache>
                <c:ptCount val="5"/>
                <c:pt idx="0">
                  <c:v>100ML</c:v>
                </c:pt>
                <c:pt idx="1">
                  <c:v>150ML</c:v>
                </c:pt>
                <c:pt idx="2">
                  <c:v>177ML</c:v>
                </c:pt>
                <c:pt idx="3">
                  <c:v>180ML</c:v>
                </c:pt>
                <c:pt idx="4">
                  <c:v>220ML</c:v>
                </c:pt>
              </c:strCache>
            </c:strRef>
          </c:cat>
          <c:val>
            <c:numRef>
              <c:f>Sheet1!$B$2:$B$6</c:f>
              <c:numCache>
                <c:formatCode>General</c:formatCode>
                <c:ptCount val="5"/>
                <c:pt idx="0">
                  <c:v>5.10934</c:v>
                </c:pt>
                <c:pt idx="1">
                  <c:v>7.09932</c:v>
                </c:pt>
                <c:pt idx="2">
                  <c:v>5.30101</c:v>
                </c:pt>
                <c:pt idx="3">
                  <c:v>78.67514</c:v>
                </c:pt>
                <c:pt idx="4">
                  <c:v>28.9791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42.06</a:t>
                    </a:r>
                  </a:p>
                </c:rich>
              </c:tx>
              <c:dLblPos val="t"/>
              <c:showLegendKey val="0"/>
              <c:showVal val="1"/>
              <c:showCatName val="0"/>
              <c:showSerName val="0"/>
              <c:showPercent val="0"/>
              <c:showBubbleSize val="0"/>
            </c:dLbl>
            <c:dLbl>
              <c:idx val="1"/>
              <c:tx>
                <c:rich>
                  <a:bodyPr/>
                  <a:lstStyle/>
                  <a:p>
                    <a:r>
                      <a:t>288.55</a:t>
                    </a:r>
                  </a:p>
                </c:rich>
              </c:tx>
              <c:dLblPos val="t"/>
              <c:showLegendKey val="0"/>
              <c:showVal val="1"/>
              <c:showCatName val="0"/>
              <c:showSerName val="0"/>
              <c:showPercent val="0"/>
              <c:showBubbleSize val="0"/>
            </c:dLbl>
            <c:dLbl>
              <c:idx val="2"/>
              <c:tx>
                <c:rich>
                  <a:bodyPr/>
                  <a:lstStyle/>
                  <a:p>
                    <a:r>
                      <a:t>253.42</a:t>
                    </a:r>
                  </a:p>
                </c:rich>
              </c:tx>
              <c:dLblPos val="t"/>
              <c:showLegendKey val="0"/>
              <c:showVal val="1"/>
              <c:showCatName val="0"/>
              <c:showSerName val="0"/>
              <c:showPercent val="0"/>
              <c:showBubbleSize val="0"/>
            </c:dLbl>
            <c:dLbl>
              <c:idx val="3"/>
              <c:tx>
                <c:rich>
                  <a:bodyPr/>
                  <a:lstStyle/>
                  <a:p>
                    <a:r>
                      <a:t>326.79</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96.15</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100ML</c:v>
                </c:pt>
                <c:pt idx="1">
                  <c:v>150ML</c:v>
                </c:pt>
                <c:pt idx="2">
                  <c:v>177ML</c:v>
                </c:pt>
                <c:pt idx="3">
                  <c:v>180ML</c:v>
                </c:pt>
                <c:pt idx="4">
                  <c:v>220ML</c:v>
                </c:pt>
              </c:strCache>
            </c:strRef>
          </c:cat>
          <c:val>
            <c:numRef>
              <c:f>Sheet1!$C$2:$C$6</c:f>
              <c:numCache>
                <c:formatCode>General</c:formatCode>
                <c:ptCount val="5"/>
                <c:pt idx="0">
                  <c:v>342.0618</c:v>
                </c:pt>
                <c:pt idx="1">
                  <c:v>288.549</c:v>
                </c:pt>
                <c:pt idx="2">
                  <c:v>253.4206</c:v>
                </c:pt>
                <c:pt idx="3">
                  <c:v>326.7873</c:v>
                </c:pt>
                <c:pt idx="4">
                  <c:v>296.15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6</c:f>
              <c:strCache>
                <c:ptCount val="5"/>
                <c:pt idx="0">
                  <c:v>100ML</c:v>
                </c:pt>
                <c:pt idx="1">
                  <c:v>150ML</c:v>
                </c:pt>
                <c:pt idx="2">
                  <c:v>177ML</c:v>
                </c:pt>
                <c:pt idx="3">
                  <c:v>180ML</c:v>
                </c:pt>
                <c:pt idx="4">
                  <c:v>220ML</c:v>
                </c:pt>
              </c:strCache>
            </c:strRef>
          </c:cat>
          <c:val>
            <c:numRef>
              <c:f>Sheet1!$D$2:$D$6</c:f>
              <c:numCache>
                <c:formatCode>General</c:formatCode>
                <c:ptCount val="5"/>
                <c:pt idx="0">
                  <c:v>181.5485</c:v>
                </c:pt>
                <c:pt idx="1">
                  <c:v>272.32275</c:v>
                </c:pt>
                <c:pt idx="2">
                  <c:v>321.340845</c:v>
                </c:pt>
                <c:pt idx="3">
                  <c:v>326.7873</c:v>
                </c:pt>
                <c:pt idx="4">
                  <c:v>399.406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8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2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2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100ML</c:v>
                </c:pt>
                <c:pt idx="1">
                  <c:v>150ML</c:v>
                </c:pt>
                <c:pt idx="2">
                  <c:v>177ML</c:v>
                </c:pt>
                <c:pt idx="3">
                  <c:v>180ML</c:v>
                </c:pt>
                <c:pt idx="4">
                  <c:v>220ML</c:v>
                </c:pt>
              </c:strCache>
            </c:strRef>
          </c:cat>
          <c:val>
            <c:numRef>
              <c:f>Sheet1!$E$2:$E$6</c:f>
              <c:numCache>
                <c:formatCode>General</c:formatCode>
                <c:ptCount val="5"/>
                <c:pt idx="0">
                  <c:v>261.80515</c:v>
                </c:pt>
                <c:pt idx="1">
                  <c:v>280.435875</c:v>
                </c:pt>
                <c:pt idx="2">
                  <c:v>287.3807225</c:v>
                </c:pt>
                <c:pt idx="3">
                  <c:v>326.7873</c:v>
                </c:pt>
                <c:pt idx="4">
                  <c:v>347.7795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5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240ML</c:v>
                </c:pt>
              </c:strCache>
            </c:strRef>
          </c:cat>
          <c:val>
            <c:numRef>
              <c:f>Sheet1!$B$2:$B$3</c:f>
              <c:numCache>
                <c:formatCode>General</c:formatCode>
                <c:ptCount val="2"/>
                <c:pt idx="0">
                  <c:v>31.31409</c:v>
                </c:pt>
                <c:pt idx="1">
                  <c:v>133.4513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8.11</a:t>
                    </a:r>
                  </a:p>
                </c:rich>
              </c:tx>
              <c:dLblPos val="t"/>
              <c:showLegendKey val="0"/>
              <c:showVal val="1"/>
              <c:showCatName val="0"/>
              <c:showSerName val="0"/>
              <c:showPercent val="0"/>
              <c:showBubbleSize val="0"/>
            </c:dLbl>
            <c:dLbl>
              <c:idx val="1"/>
              <c:tx>
                <c:rich>
                  <a:bodyPr/>
                  <a:lstStyle/>
                  <a:p>
                    <a:r>
                      <a:t>308.6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240ML</c:v>
                </c:pt>
              </c:strCache>
            </c:strRef>
          </c:cat>
          <c:val>
            <c:numRef>
              <c:f>Sheet1!$C$2:$C$3</c:f>
              <c:numCache>
                <c:formatCode>General</c:formatCode>
                <c:ptCount val="2"/>
                <c:pt idx="0">
                  <c:v>88.1079</c:v>
                </c:pt>
                <c:pt idx="1">
                  <c:v>308.694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240ML</c:v>
                </c:pt>
              </c:strCache>
            </c:strRef>
          </c:cat>
          <c:val>
            <c:numRef>
              <c:f>Sheet1!$D$2:$D$3</c:f>
              <c:numCache>
                <c:formatCode>General</c:formatCode>
                <c:ptCount val="2"/>
                <c:pt idx="0">
                  <c:v>77.173575</c:v>
                </c:pt>
                <c:pt idx="1">
                  <c:v>308.694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240ML</c:v>
                </c:pt>
              </c:strCache>
            </c:strRef>
          </c:cat>
          <c:val>
            <c:numRef>
              <c:f>Sheet1!$E$2:$E$3</c:f>
              <c:numCache>
                <c:formatCode>General</c:formatCode>
                <c:ptCount val="2"/>
                <c:pt idx="0">
                  <c:v>82.6407375</c:v>
                </c:pt>
                <c:pt idx="1">
                  <c:v>308.694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6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50ML</c:v>
                </c:pt>
                <c:pt idx="1">
                  <c:v>180ML</c:v>
                </c:pt>
              </c:strCache>
            </c:strRef>
          </c:cat>
          <c:val>
            <c:numRef>
              <c:f>Sheet1!$B$2:$B$3</c:f>
              <c:numCache>
                <c:formatCode>General</c:formatCode>
                <c:ptCount val="2"/>
                <c:pt idx="0">
                  <c:v>1.22635</c:v>
                </c:pt>
                <c:pt idx="1">
                  <c:v>0.0662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56.02</a:t>
                    </a:r>
                  </a:p>
                </c:rich>
              </c:tx>
              <c:dLblPos val="t"/>
              <c:showLegendKey val="0"/>
              <c:showVal val="1"/>
              <c:showCatName val="0"/>
              <c:showSerName val="0"/>
              <c:showPercent val="0"/>
              <c:showBubbleSize val="0"/>
            </c:dLbl>
            <c:dLbl>
              <c:idx val="1"/>
              <c:tx>
                <c:rich>
                  <a:bodyPr/>
                  <a:lstStyle/>
                  <a:p>
                    <a:r>
                      <a:t>405.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50ML</c:v>
                </c:pt>
                <c:pt idx="1">
                  <c:v>180ML</c:v>
                </c:pt>
              </c:strCache>
            </c:strRef>
          </c:cat>
          <c:val>
            <c:numRef>
              <c:f>Sheet1!$C$2:$C$3</c:f>
              <c:numCache>
                <c:formatCode>General</c:formatCode>
                <c:ptCount val="2"/>
                <c:pt idx="0">
                  <c:v>356.0194</c:v>
                </c:pt>
                <c:pt idx="1">
                  <c:v>405.928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50ML</c:v>
                </c:pt>
                <c:pt idx="1">
                  <c:v>180ML</c:v>
                </c:pt>
              </c:strCache>
            </c:strRef>
          </c:cat>
          <c:val>
            <c:numRef>
              <c:f>Sheet1!$D$2:$D$3</c:f>
              <c:numCache>
                <c:formatCode>General</c:formatCode>
                <c:ptCount val="2"/>
                <c:pt idx="0">
                  <c:v>356.0194</c:v>
                </c:pt>
                <c:pt idx="1">
                  <c:v>1281.6698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50ML</c:v>
                </c:pt>
                <c:pt idx="1">
                  <c:v>180ML</c:v>
                </c:pt>
              </c:strCache>
            </c:strRef>
          </c:cat>
          <c:val>
            <c:numRef>
              <c:f>Sheet1!$E$2:$E$3</c:f>
              <c:numCache>
                <c:formatCode>General</c:formatCode>
                <c:ptCount val="2"/>
                <c:pt idx="0">
                  <c:v>356.0194</c:v>
                </c:pt>
                <c:pt idx="1">
                  <c:v>843.7992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180ML</c:v>
                </c:pt>
              </c:strCache>
            </c:strRef>
          </c:cat>
          <c:val>
            <c:numRef>
              <c:f>Sheet1!$B$2:$B$3</c:f>
              <c:numCache>
                <c:formatCode>General</c:formatCode>
                <c:ptCount val="2"/>
                <c:pt idx="0">
                  <c:v>0.5307</c:v>
                </c:pt>
                <c:pt idx="1">
                  <c:v>0.1041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4.59</a:t>
                    </a:r>
                  </a:p>
                </c:rich>
              </c:tx>
              <c:dLblPos val="t"/>
              <c:showLegendKey val="0"/>
              <c:showVal val="1"/>
              <c:showCatName val="0"/>
              <c:showSerName val="0"/>
              <c:showPercent val="0"/>
              <c:showBubbleSize val="0"/>
            </c:dLbl>
            <c:dLbl>
              <c:idx val="1"/>
              <c:tx>
                <c:rich>
                  <a:bodyPr/>
                  <a:lstStyle/>
                  <a:p>
                    <a:r>
                      <a:t>125.0</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180ML</c:v>
                </c:pt>
              </c:strCache>
            </c:strRef>
          </c:cat>
          <c:val>
            <c:numRef>
              <c:f>Sheet1!$C$2:$C$3</c:f>
              <c:numCache>
                <c:formatCode>General</c:formatCode>
                <c:ptCount val="2"/>
                <c:pt idx="0">
                  <c:v>234.5916</c:v>
                </c:pt>
                <c:pt idx="1">
                  <c:v>125.0</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180ML</c:v>
                </c:pt>
              </c:strCache>
            </c:strRef>
          </c:cat>
          <c:val>
            <c:numRef>
              <c:f>Sheet1!$D$2:$D$3</c:f>
              <c:numCache>
                <c:formatCode>General</c:formatCode>
                <c:ptCount val="2"/>
                <c:pt idx="0">
                  <c:v>234.5916</c:v>
                </c:pt>
                <c:pt idx="1">
                  <c:v>703.774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8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180ML</c:v>
                </c:pt>
              </c:strCache>
            </c:strRef>
          </c:cat>
          <c:val>
            <c:numRef>
              <c:f>Sheet1!$E$2:$E$3</c:f>
              <c:numCache>
                <c:formatCode>General</c:formatCode>
                <c:ptCount val="2"/>
                <c:pt idx="0">
                  <c:v>234.5916</c:v>
                </c:pt>
                <c:pt idx="1">
                  <c:v>414.387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0ML</c:v>
                </c:pt>
                <c:pt idx="1">
                  <c:v>240ML</c:v>
                </c:pt>
              </c:strCache>
            </c:strRef>
          </c:cat>
          <c:val>
            <c:numRef>
              <c:f>Sheet1!$B$2:$B$3</c:f>
              <c:numCache>
                <c:formatCode>General</c:formatCode>
                <c:ptCount val="2"/>
                <c:pt idx="0">
                  <c:v>55.13559</c:v>
                </c:pt>
                <c:pt idx="1">
                  <c:v>185.0689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89.54</a:t>
                    </a:r>
                  </a:p>
                </c:rich>
              </c:tx>
              <c:dLblPos val="t"/>
              <c:showLegendKey val="0"/>
              <c:showVal val="1"/>
              <c:showCatName val="0"/>
              <c:showSerName val="0"/>
              <c:showPercent val="0"/>
              <c:showBubbleSize val="0"/>
            </c:dLbl>
            <c:dLbl>
              <c:idx val="1"/>
              <c:tx>
                <c:rich>
                  <a:bodyPr/>
                  <a:lstStyle/>
                  <a:p>
                    <a:r>
                      <a:t>309.4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0ML</c:v>
                </c:pt>
                <c:pt idx="1">
                  <c:v>240ML</c:v>
                </c:pt>
              </c:strCache>
            </c:strRef>
          </c:cat>
          <c:val>
            <c:numRef>
              <c:f>Sheet1!$C$2:$C$3</c:f>
              <c:numCache>
                <c:formatCode>General</c:formatCode>
                <c:ptCount val="2"/>
                <c:pt idx="0">
                  <c:v>189.5414</c:v>
                </c:pt>
                <c:pt idx="1">
                  <c:v>309.466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0ML</c:v>
                </c:pt>
                <c:pt idx="1">
                  <c:v>240ML</c:v>
                </c:pt>
              </c:strCache>
            </c:strRef>
          </c:cat>
          <c:val>
            <c:numRef>
              <c:f>Sheet1!$D$2:$D$3</c:f>
              <c:numCache>
                <c:formatCode>General</c:formatCode>
                <c:ptCount val="2"/>
                <c:pt idx="0">
                  <c:v>154.73315</c:v>
                </c:pt>
                <c:pt idx="1">
                  <c:v>309.466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0ML</c:v>
                </c:pt>
                <c:pt idx="1">
                  <c:v>240ML</c:v>
                </c:pt>
              </c:strCache>
            </c:strRef>
          </c:cat>
          <c:val>
            <c:numRef>
              <c:f>Sheet1!$E$2:$E$3</c:f>
              <c:numCache>
                <c:formatCode>General</c:formatCode>
                <c:ptCount val="2"/>
                <c:pt idx="0">
                  <c:v>172.137275</c:v>
                </c:pt>
                <c:pt idx="1">
                  <c:v>309.466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37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5"/>
              <c:tx>
                <c:rich>
                  <a:bodyPr/>
                  <a:lstStyle/>
                  <a:p>
                    <a:r>
                      <a:rPr sz="1100">
                        <a:solidFill>
                          <a:srgbClr val="00A097"/>
                        </a:solidFill>
                        <a:latin typeface="Nexa Book (Body)"/>
                      </a:rPr>
                      <a:t>Anchor</a:t>
                    </a:r>
                  </a:p>
                </c:rich>
              </c:tx>
              <c:dLblPos val="outEnd"/>
              <c:showLegendKey val="0"/>
              <c:showVal val="1"/>
              <c:showCatName val="0"/>
              <c:showSerName val="0"/>
              <c:showPercent val="0"/>
              <c:showBubbleSize val="0"/>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7</c:f>
              <c:strCache>
                <c:ptCount val="6"/>
                <c:pt idx="0">
                  <c:v>50ML</c:v>
                </c:pt>
                <c:pt idx="1">
                  <c:v>60ML</c:v>
                </c:pt>
                <c:pt idx="2">
                  <c:v>90ML</c:v>
                </c:pt>
                <c:pt idx="3">
                  <c:v>120ML</c:v>
                </c:pt>
                <c:pt idx="4">
                  <c:v>180ML</c:v>
                </c:pt>
                <c:pt idx="5">
                  <c:v>240ML</c:v>
                </c:pt>
              </c:strCache>
            </c:strRef>
          </c:cat>
          <c:val>
            <c:numRef>
              <c:f>Sheet1!$B$2:$B$7</c:f>
              <c:numCache>
                <c:formatCode>General</c:formatCode>
                <c:ptCount val="6"/>
                <c:pt idx="0">
                  <c:v>3.99915</c:v>
                </c:pt>
                <c:pt idx="1">
                  <c:v>14.85079</c:v>
                </c:pt>
                <c:pt idx="2">
                  <c:v>49.7928</c:v>
                </c:pt>
                <c:pt idx="3">
                  <c:v>25.70522</c:v>
                </c:pt>
                <c:pt idx="4">
                  <c:v>49.14143</c:v>
                </c:pt>
                <c:pt idx="5">
                  <c:v>149.8591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7.49</a:t>
                    </a:r>
                  </a:p>
                </c:rich>
              </c:tx>
              <c:dLblPos val="t"/>
              <c:showLegendKey val="0"/>
              <c:showVal val="1"/>
              <c:showCatName val="0"/>
              <c:showSerName val="0"/>
              <c:showPercent val="0"/>
              <c:showBubbleSize val="0"/>
            </c:dLbl>
            <c:dLbl>
              <c:idx val="1"/>
              <c:tx>
                <c:rich>
                  <a:bodyPr/>
                  <a:lstStyle/>
                  <a:p>
                    <a:r>
                      <a:t>119.39</a:t>
                    </a:r>
                  </a:p>
                </c:rich>
              </c:tx>
              <c:dLblPos val="t"/>
              <c:showLegendKey val="0"/>
              <c:showVal val="1"/>
              <c:showCatName val="0"/>
              <c:showSerName val="0"/>
              <c:showPercent val="0"/>
              <c:showBubbleSize val="0"/>
            </c:dLbl>
            <c:dLbl>
              <c:idx val="2"/>
              <c:tx>
                <c:rich>
                  <a:bodyPr/>
                  <a:lstStyle/>
                  <a:p>
                    <a:r>
                      <a:t>101.15</a:t>
                    </a:r>
                  </a:p>
                </c:rich>
              </c:tx>
              <c:dLblPos val="t"/>
              <c:showLegendKey val="0"/>
              <c:showVal val="1"/>
              <c:showCatName val="0"/>
              <c:showSerName val="0"/>
              <c:showPercent val="0"/>
              <c:showBubbleSize val="0"/>
            </c:dLbl>
            <c:dLbl>
              <c:idx val="3"/>
              <c:tx>
                <c:rich>
                  <a:bodyPr/>
                  <a:lstStyle/>
                  <a:p>
                    <a:r>
                      <a:t>194.2</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300.88</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dLbl>
              <c:idx val="5"/>
              <c:tx>
                <c:rich>
                  <a:bodyPr/>
                  <a:lstStyle/>
                  <a:p>
                    <a:r>
                      <a:t>302.5</a:t>
                    </a:r>
                  </a:p>
                </c:rich>
              </c:tx>
              <c:dLblPos val="t"/>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50ML</c:v>
                </c:pt>
                <c:pt idx="1">
                  <c:v>60ML</c:v>
                </c:pt>
                <c:pt idx="2">
                  <c:v>90ML</c:v>
                </c:pt>
                <c:pt idx="3">
                  <c:v>120ML</c:v>
                </c:pt>
                <c:pt idx="4">
                  <c:v>180ML</c:v>
                </c:pt>
                <c:pt idx="5">
                  <c:v>240ML</c:v>
                </c:pt>
              </c:strCache>
            </c:strRef>
          </c:cat>
          <c:val>
            <c:numRef>
              <c:f>Sheet1!$C$2:$C$7</c:f>
              <c:numCache>
                <c:formatCode>General</c:formatCode>
                <c:ptCount val="6"/>
                <c:pt idx="0">
                  <c:v>287.49</c:v>
                </c:pt>
                <c:pt idx="1">
                  <c:v>119.3888</c:v>
                </c:pt>
                <c:pt idx="2">
                  <c:v>101.1506</c:v>
                </c:pt>
                <c:pt idx="3">
                  <c:v>194.1983</c:v>
                </c:pt>
                <c:pt idx="4">
                  <c:v>300.8832</c:v>
                </c:pt>
                <c:pt idx="5">
                  <c:v>302.502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7</c:f>
              <c:strCache>
                <c:ptCount val="6"/>
                <c:pt idx="0">
                  <c:v>50ML</c:v>
                </c:pt>
                <c:pt idx="1">
                  <c:v>60ML</c:v>
                </c:pt>
                <c:pt idx="2">
                  <c:v>90ML</c:v>
                </c:pt>
                <c:pt idx="3">
                  <c:v>120ML</c:v>
                </c:pt>
                <c:pt idx="4">
                  <c:v>180ML</c:v>
                </c:pt>
                <c:pt idx="5">
                  <c:v>240ML</c:v>
                </c:pt>
              </c:strCache>
            </c:strRef>
          </c:cat>
          <c:val>
            <c:numRef>
              <c:f>Sheet1!$D$2:$D$7</c:f>
              <c:numCache>
                <c:formatCode>General</c:formatCode>
                <c:ptCount val="6"/>
                <c:pt idx="0">
                  <c:v>63.02137499999999</c:v>
                </c:pt>
                <c:pt idx="1">
                  <c:v>75.62565</c:v>
                </c:pt>
                <c:pt idx="2">
                  <c:v>113.43847499999998</c:v>
                </c:pt>
                <c:pt idx="3">
                  <c:v>151.2513</c:v>
                </c:pt>
                <c:pt idx="4">
                  <c:v>226.87694999999997</c:v>
                </c:pt>
                <c:pt idx="5">
                  <c:v>302.502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5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3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t>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7</c:f>
              <c:strCache>
                <c:ptCount val="6"/>
                <c:pt idx="0">
                  <c:v>50ML</c:v>
                </c:pt>
                <c:pt idx="1">
                  <c:v>60ML</c:v>
                </c:pt>
                <c:pt idx="2">
                  <c:v>90ML</c:v>
                </c:pt>
                <c:pt idx="3">
                  <c:v>120ML</c:v>
                </c:pt>
                <c:pt idx="4">
                  <c:v>180ML</c:v>
                </c:pt>
                <c:pt idx="5">
                  <c:v>240ML</c:v>
                </c:pt>
              </c:strCache>
            </c:strRef>
          </c:cat>
          <c:val>
            <c:numRef>
              <c:f>Sheet1!$E$2:$E$7</c:f>
              <c:numCache>
                <c:formatCode>General</c:formatCode>
                <c:ptCount val="6"/>
                <c:pt idx="0">
                  <c:v>175.2556875</c:v>
                </c:pt>
                <c:pt idx="1">
                  <c:v>97.507225</c:v>
                </c:pt>
                <c:pt idx="2">
                  <c:v>107.29453749999999</c:v>
                </c:pt>
                <c:pt idx="3">
                  <c:v>172.7248</c:v>
                </c:pt>
                <c:pt idx="4">
                  <c:v>263.880075</c:v>
                </c:pt>
                <c:pt idx="5">
                  <c:v>302.502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9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c:f>
              <c:strCache>
                <c:ptCount val="4"/>
                <c:pt idx="0">
                  <c:v>100ML</c:v>
                </c:pt>
                <c:pt idx="1">
                  <c:v>150ML</c:v>
                </c:pt>
                <c:pt idx="2">
                  <c:v>180ML</c:v>
                </c:pt>
                <c:pt idx="3">
                  <c:v>220ML</c:v>
                </c:pt>
              </c:strCache>
            </c:strRef>
          </c:cat>
          <c:val>
            <c:numRef>
              <c:f>Sheet1!$B$2:$B$5</c:f>
              <c:numCache>
                <c:formatCode>General</c:formatCode>
                <c:ptCount val="4"/>
                <c:pt idx="0">
                  <c:v>3.42895</c:v>
                </c:pt>
                <c:pt idx="1">
                  <c:v>2.46379</c:v>
                </c:pt>
                <c:pt idx="2">
                  <c:v>62.12039</c:v>
                </c:pt>
                <c:pt idx="3">
                  <c:v>19.3989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28.8</a:t>
                    </a:r>
                  </a:p>
                </c:rich>
              </c:tx>
              <c:dLblPos val="t"/>
              <c:showLegendKey val="0"/>
              <c:showVal val="1"/>
              <c:showCatName val="0"/>
              <c:showSerName val="0"/>
              <c:showPercent val="0"/>
              <c:showBubbleSize val="0"/>
            </c:dLbl>
            <c:dLbl>
              <c:idx val="1"/>
              <c:tx>
                <c:rich>
                  <a:bodyPr/>
                  <a:lstStyle/>
                  <a:p>
                    <a:r>
                      <a:t>308.57</a:t>
                    </a:r>
                  </a:p>
                </c:rich>
              </c:tx>
              <c:dLblPos val="t"/>
              <c:showLegendKey val="0"/>
              <c:showVal val="1"/>
              <c:showCatName val="0"/>
              <c:showSerName val="0"/>
              <c:showPercent val="0"/>
              <c:showBubbleSize val="0"/>
            </c:dLbl>
            <c:dLbl>
              <c:idx val="2"/>
              <c:tx>
                <c:rich>
                  <a:bodyPr/>
                  <a:lstStyle/>
                  <a:p>
                    <a:r>
                      <a:t>332.97</a:t>
                    </a:r>
                  </a:p>
                </c:rich>
              </c:tx>
              <c:dLblPos val="t"/>
              <c:showLegendKey val="0"/>
              <c:showVal val="1"/>
              <c:showCatName val="0"/>
              <c:showSerName val="0"/>
              <c:showPercent val="0"/>
              <c:showBubbleSize val="0"/>
            </c:dLbl>
            <c:dLbl>
              <c:idx val="3"/>
              <c:tx>
                <c:rich>
                  <a:bodyPr/>
                  <a:lstStyle/>
                  <a:p>
                    <a:r>
                      <a:t>290.3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00ML</c:v>
                </c:pt>
                <c:pt idx="1">
                  <c:v>150ML</c:v>
                </c:pt>
                <c:pt idx="2">
                  <c:v>180ML</c:v>
                </c:pt>
                <c:pt idx="3">
                  <c:v>220ML</c:v>
                </c:pt>
              </c:strCache>
            </c:strRef>
          </c:cat>
          <c:val>
            <c:numRef>
              <c:f>Sheet1!$C$2:$C$5</c:f>
              <c:numCache>
                <c:formatCode>General</c:formatCode>
                <c:ptCount val="4"/>
                <c:pt idx="0">
                  <c:v>328.799</c:v>
                </c:pt>
                <c:pt idx="1">
                  <c:v>308.5673</c:v>
                </c:pt>
                <c:pt idx="2">
                  <c:v>332.9718</c:v>
                </c:pt>
                <c:pt idx="3">
                  <c:v>290.382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5</c:f>
              <c:strCache>
                <c:ptCount val="4"/>
                <c:pt idx="0">
                  <c:v>100ML</c:v>
                </c:pt>
                <c:pt idx="1">
                  <c:v>150ML</c:v>
                </c:pt>
                <c:pt idx="2">
                  <c:v>180ML</c:v>
                </c:pt>
                <c:pt idx="3">
                  <c:v>220ML</c:v>
                </c:pt>
              </c:strCache>
            </c:strRef>
          </c:cat>
          <c:val>
            <c:numRef>
              <c:f>Sheet1!$D$2:$D$5</c:f>
              <c:numCache>
                <c:formatCode>General</c:formatCode>
                <c:ptCount val="4"/>
                <c:pt idx="0">
                  <c:v>184.98433333333332</c:v>
                </c:pt>
                <c:pt idx="1">
                  <c:v>277.4765</c:v>
                </c:pt>
                <c:pt idx="2">
                  <c:v>332.9718</c:v>
                </c:pt>
                <c:pt idx="3">
                  <c:v>406.965533333333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7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2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5</c:f>
              <c:strCache>
                <c:ptCount val="4"/>
                <c:pt idx="0">
                  <c:v>100ML</c:v>
                </c:pt>
                <c:pt idx="1">
                  <c:v>150ML</c:v>
                </c:pt>
                <c:pt idx="2">
                  <c:v>180ML</c:v>
                </c:pt>
                <c:pt idx="3">
                  <c:v>220ML</c:v>
                </c:pt>
              </c:strCache>
            </c:strRef>
          </c:cat>
          <c:val>
            <c:numRef>
              <c:f>Sheet1!$E$2:$E$5</c:f>
              <c:numCache>
                <c:formatCode>General</c:formatCode>
                <c:ptCount val="4"/>
                <c:pt idx="0">
                  <c:v>256.89166666666665</c:v>
                </c:pt>
                <c:pt idx="1">
                  <c:v>293.02189999999996</c:v>
                </c:pt>
                <c:pt idx="2">
                  <c:v>332.9718</c:v>
                </c:pt>
                <c:pt idx="3">
                  <c:v>348.674116666666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2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240ML</c:v>
                </c:pt>
              </c:strCache>
            </c:strRef>
          </c:cat>
          <c:val>
            <c:numRef>
              <c:f>Sheet1!$B$2:$B$3</c:f>
              <c:numCache>
                <c:formatCode>General</c:formatCode>
                <c:ptCount val="2"/>
                <c:pt idx="0">
                  <c:v>25.40557</c:v>
                </c:pt>
                <c:pt idx="1">
                  <c:v>99.8908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2.14</a:t>
                    </a:r>
                  </a:p>
                </c:rich>
              </c:tx>
              <c:dLblPos val="t"/>
              <c:showLegendKey val="0"/>
              <c:showVal val="1"/>
              <c:showCatName val="0"/>
              <c:showSerName val="0"/>
              <c:showPercent val="0"/>
              <c:showBubbleSize val="0"/>
            </c:dLbl>
            <c:dLbl>
              <c:idx val="1"/>
              <c:tx>
                <c:rich>
                  <a:bodyPr/>
                  <a:lstStyle/>
                  <a:p>
                    <a:r>
                      <a:t>305.2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240ML</c:v>
                </c:pt>
              </c:strCache>
            </c:strRef>
          </c:cat>
          <c:val>
            <c:numRef>
              <c:f>Sheet1!$C$2:$C$3</c:f>
              <c:numCache>
                <c:formatCode>General</c:formatCode>
                <c:ptCount val="2"/>
                <c:pt idx="0">
                  <c:v>92.1361</c:v>
                </c:pt>
                <c:pt idx="1">
                  <c:v>305.293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240ML</c:v>
                </c:pt>
              </c:strCache>
            </c:strRef>
          </c:cat>
          <c:val>
            <c:numRef>
              <c:f>Sheet1!$D$2:$D$3</c:f>
              <c:numCache>
                <c:formatCode>General</c:formatCode>
                <c:ptCount val="2"/>
                <c:pt idx="0">
                  <c:v>76.323425</c:v>
                </c:pt>
                <c:pt idx="1">
                  <c:v>305.293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240ML</c:v>
                </c:pt>
              </c:strCache>
            </c:strRef>
          </c:cat>
          <c:val>
            <c:numRef>
              <c:f>Sheet1!$E$2:$E$3</c:f>
              <c:numCache>
                <c:formatCode>General</c:formatCode>
                <c:ptCount val="2"/>
                <c:pt idx="0">
                  <c:v>84.22976249999999</c:v>
                </c:pt>
                <c:pt idx="1">
                  <c:v>305.293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9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50ML</c:v>
                </c:pt>
                <c:pt idx="1">
                  <c:v>100ML</c:v>
                </c:pt>
              </c:strCache>
            </c:strRef>
          </c:cat>
          <c:val>
            <c:numRef>
              <c:f>Sheet1!$B$2:$B$3</c:f>
              <c:numCache>
                <c:formatCode>General</c:formatCode>
                <c:ptCount val="2"/>
                <c:pt idx="0">
                  <c:v>27.40625</c:v>
                </c:pt>
                <c:pt idx="1">
                  <c:v>2.1996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5.07</a:t>
                    </a:r>
                  </a:p>
                </c:rich>
              </c:tx>
              <c:dLblPos val="t"/>
              <c:showLegendKey val="0"/>
              <c:showVal val="1"/>
              <c:showCatName val="0"/>
              <c:showSerName val="0"/>
              <c:showPercent val="0"/>
              <c:showBubbleSize val="0"/>
            </c:dLbl>
            <c:dLbl>
              <c:idx val="1"/>
              <c:tx>
                <c:rich>
                  <a:bodyPr/>
                  <a:lstStyle/>
                  <a:p>
                    <a:r>
                      <a:t>242.1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50ML</c:v>
                </c:pt>
                <c:pt idx="1">
                  <c:v>100ML</c:v>
                </c:pt>
              </c:strCache>
            </c:strRef>
          </c:cat>
          <c:val>
            <c:numRef>
              <c:f>Sheet1!$C$2:$C$3</c:f>
              <c:numCache>
                <c:formatCode>General</c:formatCode>
                <c:ptCount val="2"/>
                <c:pt idx="0">
                  <c:v>265.073</c:v>
                </c:pt>
                <c:pt idx="1">
                  <c:v>242.110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50ML</c:v>
                </c:pt>
                <c:pt idx="1">
                  <c:v>100ML</c:v>
                </c:pt>
              </c:strCache>
            </c:strRef>
          </c:cat>
          <c:val>
            <c:numRef>
              <c:f>Sheet1!$D$2:$D$3</c:f>
              <c:numCache>
                <c:formatCode>General</c:formatCode>
                <c:ptCount val="2"/>
                <c:pt idx="0">
                  <c:v>265.073</c:v>
                </c:pt>
                <c:pt idx="1">
                  <c:v>530.14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50ML</c:v>
                </c:pt>
                <c:pt idx="1">
                  <c:v>100ML</c:v>
                </c:pt>
              </c:strCache>
            </c:strRef>
          </c:cat>
          <c:val>
            <c:numRef>
              <c:f>Sheet1!$E$2:$E$3</c:f>
              <c:numCache>
                <c:formatCode>General</c:formatCode>
                <c:ptCount val="2"/>
                <c:pt idx="0">
                  <c:v>265.073</c:v>
                </c:pt>
                <c:pt idx="1">
                  <c:v>386.1284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240ML</c:v>
                </c:pt>
              </c:strCache>
            </c:strRef>
          </c:cat>
          <c:val>
            <c:numRef>
              <c:f>Sheet1!$B$2:$B$3</c:f>
              <c:numCache>
                <c:formatCode>General</c:formatCode>
                <c:ptCount val="2"/>
                <c:pt idx="0">
                  <c:v>5.90825</c:v>
                </c:pt>
                <c:pt idx="1">
                  <c:v>32.940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0.72</a:t>
                    </a:r>
                  </a:p>
                </c:rich>
              </c:tx>
              <c:dLblPos val="t"/>
              <c:showLegendKey val="0"/>
              <c:showVal val="1"/>
              <c:showCatName val="0"/>
              <c:showSerName val="0"/>
              <c:showPercent val="0"/>
              <c:showBubbleSize val="0"/>
            </c:dLbl>
            <c:dLbl>
              <c:idx val="1"/>
              <c:tx>
                <c:rich>
                  <a:bodyPr/>
                  <a:lstStyle/>
                  <a:p>
                    <a:r>
                      <a:t>330.0</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240ML</c:v>
                </c:pt>
              </c:strCache>
            </c:strRef>
          </c:cat>
          <c:val>
            <c:numRef>
              <c:f>Sheet1!$C$2:$C$3</c:f>
              <c:numCache>
                <c:formatCode>General</c:formatCode>
                <c:ptCount val="2"/>
                <c:pt idx="0">
                  <c:v>80.7246</c:v>
                </c:pt>
                <c:pt idx="1">
                  <c:v>329.996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240ML</c:v>
                </c:pt>
              </c:strCache>
            </c:strRef>
          </c:cat>
          <c:val>
            <c:numRef>
              <c:f>Sheet1!$D$2:$D$3</c:f>
              <c:numCache>
                <c:formatCode>General</c:formatCode>
                <c:ptCount val="2"/>
                <c:pt idx="0">
                  <c:v>82.49915</c:v>
                </c:pt>
                <c:pt idx="1">
                  <c:v>329.996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240ML</c:v>
                </c:pt>
              </c:strCache>
            </c:strRef>
          </c:cat>
          <c:val>
            <c:numRef>
              <c:f>Sheet1!$E$2:$E$3</c:f>
              <c:numCache>
                <c:formatCode>General</c:formatCode>
                <c:ptCount val="2"/>
                <c:pt idx="0">
                  <c:v>81.611875</c:v>
                </c:pt>
                <c:pt idx="1">
                  <c:v>329.996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230ML</c:v>
                </c:pt>
                <c:pt idx="1">
                  <c:v>453ML</c:v>
                </c:pt>
                <c:pt idx="2">
                  <c:v>473ML</c:v>
                </c:pt>
              </c:strCache>
            </c:strRef>
          </c:cat>
          <c:val>
            <c:numRef>
              <c:f>Sheet1!$B$2:$B$4</c:f>
              <c:numCache>
                <c:formatCode>General</c:formatCode>
                <c:ptCount val="3"/>
                <c:pt idx="0">
                  <c:v>15.40345</c:v>
                </c:pt>
                <c:pt idx="1">
                  <c:v>0.5119</c:v>
                </c:pt>
                <c:pt idx="2">
                  <c:v>9.4916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2.64</a:t>
                    </a:r>
                  </a:p>
                </c:rich>
              </c:tx>
              <c:dLblPos val="t"/>
              <c:showLegendKey val="0"/>
              <c:showVal val="1"/>
              <c:showCatName val="0"/>
              <c:showSerName val="0"/>
              <c:showPercent val="0"/>
              <c:showBubbleSize val="0"/>
            </c:dLbl>
            <c:dLbl>
              <c:idx val="1"/>
              <c:tx>
                <c:rich>
                  <a:bodyPr/>
                  <a:lstStyle/>
                  <a:p>
                    <a:r>
                      <a:t>159.59</a:t>
                    </a:r>
                  </a:p>
                </c:rich>
              </c:tx>
              <c:dLblPos val="t"/>
              <c:showLegendKey val="0"/>
              <c:showVal val="1"/>
              <c:showCatName val="0"/>
              <c:showSerName val="0"/>
              <c:showPercent val="0"/>
              <c:showBubbleSize val="0"/>
            </c:dLbl>
            <c:dLbl>
              <c:idx val="2"/>
              <c:tx>
                <c:rich>
                  <a:bodyPr/>
                  <a:lstStyle/>
                  <a:p>
                    <a:r>
                      <a:t>161.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30ML</c:v>
                </c:pt>
                <c:pt idx="1">
                  <c:v>453ML</c:v>
                </c:pt>
                <c:pt idx="2">
                  <c:v>473ML</c:v>
                </c:pt>
              </c:strCache>
            </c:strRef>
          </c:cat>
          <c:val>
            <c:numRef>
              <c:f>Sheet1!$C$2:$C$4</c:f>
              <c:numCache>
                <c:formatCode>General</c:formatCode>
                <c:ptCount val="3"/>
                <c:pt idx="0">
                  <c:v>132.6419</c:v>
                </c:pt>
                <c:pt idx="1">
                  <c:v>159.5931</c:v>
                </c:pt>
                <c:pt idx="2">
                  <c:v>161.195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230ML</c:v>
                </c:pt>
                <c:pt idx="1">
                  <c:v>453ML</c:v>
                </c:pt>
                <c:pt idx="2">
                  <c:v>473ML</c:v>
                </c:pt>
              </c:strCache>
            </c:strRef>
          </c:cat>
          <c:val>
            <c:numRef>
              <c:f>Sheet1!$D$2:$D$4</c:f>
              <c:numCache>
                <c:formatCode>General</c:formatCode>
                <c:ptCount val="3"/>
                <c:pt idx="0">
                  <c:v>132.6419</c:v>
                </c:pt>
                <c:pt idx="1">
                  <c:v>261.24687260869564</c:v>
                </c:pt>
                <c:pt idx="2">
                  <c:v>272.7809508695652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4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230ML</c:v>
                </c:pt>
                <c:pt idx="1">
                  <c:v>453ML</c:v>
                </c:pt>
                <c:pt idx="2">
                  <c:v>473ML</c:v>
                </c:pt>
              </c:strCache>
            </c:strRef>
          </c:cat>
          <c:val>
            <c:numRef>
              <c:f>Sheet1!$E$2:$E$4</c:f>
              <c:numCache>
                <c:formatCode>General</c:formatCode>
                <c:ptCount val="3"/>
                <c:pt idx="0">
                  <c:v>132.6419</c:v>
                </c:pt>
                <c:pt idx="1">
                  <c:v>210.41998630434782</c:v>
                </c:pt>
                <c:pt idx="2">
                  <c:v>216.9880254347826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3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12.90464</c:v>
                </c:pt>
                <c:pt idx="1">
                  <c:v>77.8283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1.07</a:t>
                    </a:r>
                  </a:p>
                </c:rich>
              </c:tx>
              <c:dLblPos val="t"/>
              <c:showLegendKey val="0"/>
              <c:showVal val="1"/>
              <c:showCatName val="0"/>
              <c:showSerName val="0"/>
              <c:showPercent val="0"/>
              <c:showBubbleSize val="0"/>
            </c:dLbl>
            <c:dLbl>
              <c:idx val="1"/>
              <c:tx>
                <c:rich>
                  <a:bodyPr/>
                  <a:lstStyle/>
                  <a:p>
                    <a:r>
                      <a:t>290.2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261.0718</c:v>
                </c:pt>
                <c:pt idx="1">
                  <c:v>290.292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21.4095338983051</c:v>
                </c:pt>
                <c:pt idx="1">
                  <c:v>290.292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241.24066694915257</c:v>
                </c:pt>
                <c:pt idx="1">
                  <c:v>290.29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5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60ML</c:v>
                </c:pt>
                <c:pt idx="1">
                  <c:v>180ML</c:v>
                </c:pt>
                <c:pt idx="2">
                  <c:v>240ML</c:v>
                </c:pt>
              </c:strCache>
            </c:strRef>
          </c:cat>
          <c:val>
            <c:numRef>
              <c:f>Sheet1!$B$2:$B$4</c:f>
              <c:numCache>
                <c:formatCode>General</c:formatCode>
                <c:ptCount val="3"/>
                <c:pt idx="0">
                  <c:v>23.92325</c:v>
                </c:pt>
                <c:pt idx="1">
                  <c:v>16.63639</c:v>
                </c:pt>
                <c:pt idx="2">
                  <c:v>42.7658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5.64</a:t>
                    </a:r>
                  </a:p>
                </c:rich>
              </c:tx>
              <c:dLblPos val="t"/>
              <c:showLegendKey val="0"/>
              <c:showVal val="1"/>
              <c:showCatName val="0"/>
              <c:showSerName val="0"/>
              <c:showPercent val="0"/>
              <c:showBubbleSize val="0"/>
            </c:dLbl>
            <c:dLbl>
              <c:idx val="1"/>
              <c:tx>
                <c:rich>
                  <a:bodyPr/>
                  <a:lstStyle/>
                  <a:p>
                    <a:r>
                      <a:t>254.18</a:t>
                    </a:r>
                  </a:p>
                </c:rich>
              </c:tx>
              <c:dLblPos val="t"/>
              <c:showLegendKey val="0"/>
              <c:showVal val="1"/>
              <c:showCatName val="0"/>
              <c:showSerName val="0"/>
              <c:showPercent val="0"/>
              <c:showBubbleSize val="0"/>
            </c:dLbl>
            <c:dLbl>
              <c:idx val="2"/>
              <c:tx>
                <c:rich>
                  <a:bodyPr/>
                  <a:lstStyle/>
                  <a:p>
                    <a:r>
                      <a:t>298.8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60ML</c:v>
                </c:pt>
                <c:pt idx="1">
                  <c:v>180ML</c:v>
                </c:pt>
                <c:pt idx="2">
                  <c:v>240ML</c:v>
                </c:pt>
              </c:strCache>
            </c:strRef>
          </c:cat>
          <c:val>
            <c:numRef>
              <c:f>Sheet1!$C$2:$C$4</c:f>
              <c:numCache>
                <c:formatCode>General</c:formatCode>
                <c:ptCount val="3"/>
                <c:pt idx="0">
                  <c:v>85.6442</c:v>
                </c:pt>
                <c:pt idx="1">
                  <c:v>254.1755</c:v>
                </c:pt>
                <c:pt idx="2">
                  <c:v>298.883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60ML</c:v>
                </c:pt>
                <c:pt idx="1">
                  <c:v>180ML</c:v>
                </c:pt>
                <c:pt idx="2">
                  <c:v>240ML</c:v>
                </c:pt>
              </c:strCache>
            </c:strRef>
          </c:cat>
          <c:val>
            <c:numRef>
              <c:f>Sheet1!$D$2:$D$4</c:f>
              <c:numCache>
                <c:formatCode>General</c:formatCode>
                <c:ptCount val="3"/>
                <c:pt idx="0">
                  <c:v>85.6442</c:v>
                </c:pt>
                <c:pt idx="1">
                  <c:v>256.9326</c:v>
                </c:pt>
                <c:pt idx="2">
                  <c:v>342.576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60ML</c:v>
                </c:pt>
                <c:pt idx="1">
                  <c:v>180ML</c:v>
                </c:pt>
                <c:pt idx="2">
                  <c:v>240ML</c:v>
                </c:pt>
              </c:strCache>
            </c:strRef>
          </c:cat>
          <c:val>
            <c:numRef>
              <c:f>Sheet1!$E$2:$E$4</c:f>
              <c:numCache>
                <c:formatCode>General</c:formatCode>
                <c:ptCount val="3"/>
                <c:pt idx="0">
                  <c:v>85.6442</c:v>
                </c:pt>
                <c:pt idx="1">
                  <c:v>255.55405</c:v>
                </c:pt>
                <c:pt idx="2">
                  <c:v>320.7302499999999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8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180ML</c:v>
                </c:pt>
              </c:strCache>
            </c:strRef>
          </c:cat>
          <c:val>
            <c:numRef>
              <c:f>Sheet1!$B$2:$B$3</c:f>
              <c:numCache>
                <c:formatCode>General</c:formatCode>
                <c:ptCount val="2"/>
                <c:pt idx="0">
                  <c:v>36.78772</c:v>
                </c:pt>
                <c:pt idx="1">
                  <c:v>0.0975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2.8</a:t>
                    </a:r>
                  </a:p>
                </c:rich>
              </c:tx>
              <c:dLblPos val="t"/>
              <c:showLegendKey val="0"/>
              <c:showVal val="1"/>
              <c:showCatName val="0"/>
              <c:showSerName val="0"/>
              <c:showPercent val="0"/>
              <c:showBubbleSize val="0"/>
            </c:dLbl>
            <c:dLbl>
              <c:idx val="1"/>
              <c:tx>
                <c:rich>
                  <a:bodyPr/>
                  <a:lstStyle/>
                  <a:p>
                    <a:r>
                      <a:t>268.4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180ML</c:v>
                </c:pt>
              </c:strCache>
            </c:strRef>
          </c:cat>
          <c:val>
            <c:numRef>
              <c:f>Sheet1!$C$2:$C$3</c:f>
              <c:numCache>
                <c:formatCode>General</c:formatCode>
                <c:ptCount val="2"/>
                <c:pt idx="0">
                  <c:v>312.7986</c:v>
                </c:pt>
                <c:pt idx="1">
                  <c:v>268.441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180ML</c:v>
                </c:pt>
              </c:strCache>
            </c:strRef>
          </c:cat>
          <c:val>
            <c:numRef>
              <c:f>Sheet1!$D$2:$D$3</c:f>
              <c:numCache>
                <c:formatCode>General</c:formatCode>
                <c:ptCount val="2"/>
                <c:pt idx="0">
                  <c:v>312.7986</c:v>
                </c:pt>
                <c:pt idx="1">
                  <c:v>331.198517647058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180ML</c:v>
                </c:pt>
              </c:strCache>
            </c:strRef>
          </c:cat>
          <c:val>
            <c:numRef>
              <c:f>Sheet1!$E$2:$E$3</c:f>
              <c:numCache>
                <c:formatCode>General</c:formatCode>
                <c:ptCount val="2"/>
                <c:pt idx="0">
                  <c:v>312.7986</c:v>
                </c:pt>
                <c:pt idx="1">
                  <c:v>299.820208823529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7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6</c:f>
              <c:strCache>
                <c:ptCount val="5"/>
                <c:pt idx="0">
                  <c:v>60ML</c:v>
                </c:pt>
                <c:pt idx="1">
                  <c:v>118ML</c:v>
                </c:pt>
                <c:pt idx="2">
                  <c:v>180ML</c:v>
                </c:pt>
                <c:pt idx="3">
                  <c:v>236ML</c:v>
                </c:pt>
                <c:pt idx="4">
                  <c:v>472ML</c:v>
                </c:pt>
              </c:strCache>
            </c:strRef>
          </c:cat>
          <c:val>
            <c:numRef>
              <c:f>Sheet1!$B$2:$B$6</c:f>
              <c:numCache>
                <c:formatCode>General</c:formatCode>
                <c:ptCount val="5"/>
                <c:pt idx="0">
                  <c:v>9.37562</c:v>
                </c:pt>
                <c:pt idx="1">
                  <c:v>4.01636</c:v>
                </c:pt>
                <c:pt idx="2">
                  <c:v>32.67999</c:v>
                </c:pt>
                <c:pt idx="3">
                  <c:v>58.75592</c:v>
                </c:pt>
                <c:pt idx="4">
                  <c:v>0.0118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7.84</a:t>
                    </a:r>
                  </a:p>
                </c:rich>
              </c:tx>
              <c:dLblPos val="t"/>
              <c:showLegendKey val="0"/>
              <c:showVal val="1"/>
              <c:showCatName val="0"/>
              <c:showSerName val="0"/>
              <c:showPercent val="0"/>
              <c:showBubbleSize val="0"/>
            </c:dLbl>
            <c:dLbl>
              <c:idx val="1"/>
              <c:tx>
                <c:rich>
                  <a:bodyPr/>
                  <a:lstStyle/>
                  <a:p>
                    <a:r>
                      <a:t>161.13</a:t>
                    </a:r>
                  </a:p>
                </c:rich>
              </c:tx>
              <c:dLblPos val="t"/>
              <c:showLegendKey val="0"/>
              <c:showVal val="1"/>
              <c:showCatName val="0"/>
              <c:showSerName val="0"/>
              <c:showPercent val="0"/>
              <c:showBubbleSize val="0"/>
            </c:dLbl>
            <c:dLbl>
              <c:idx val="2"/>
              <c:tx>
                <c:rich>
                  <a:bodyPr/>
                  <a:lstStyle/>
                  <a:p>
                    <a:r>
                      <a:t>316.11</a:t>
                    </a:r>
                  </a:p>
                </c:rich>
              </c:tx>
              <c:dLblPos val="t"/>
              <c:showLegendKey val="0"/>
              <c:showVal val="1"/>
              <c:showCatName val="0"/>
              <c:showSerName val="0"/>
              <c:showPercent val="0"/>
              <c:showBubbleSize val="0"/>
            </c:dLbl>
            <c:dLbl>
              <c:idx val="3"/>
              <c:tx>
                <c:rich>
                  <a:bodyPr/>
                  <a:lstStyle/>
                  <a:p>
                    <a:r>
                      <a:t>268.26</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162.67</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60ML</c:v>
                </c:pt>
                <c:pt idx="1">
                  <c:v>118ML</c:v>
                </c:pt>
                <c:pt idx="2">
                  <c:v>180ML</c:v>
                </c:pt>
                <c:pt idx="3">
                  <c:v>236ML</c:v>
                </c:pt>
                <c:pt idx="4">
                  <c:v>472ML</c:v>
                </c:pt>
              </c:strCache>
            </c:strRef>
          </c:cat>
          <c:val>
            <c:numRef>
              <c:f>Sheet1!$C$2:$C$6</c:f>
              <c:numCache>
                <c:formatCode>General</c:formatCode>
                <c:ptCount val="5"/>
                <c:pt idx="0">
                  <c:v>287.8355</c:v>
                </c:pt>
                <c:pt idx="1">
                  <c:v>161.1304</c:v>
                </c:pt>
                <c:pt idx="2">
                  <c:v>316.1138</c:v>
                </c:pt>
                <c:pt idx="3">
                  <c:v>268.2629</c:v>
                </c:pt>
                <c:pt idx="4">
                  <c:v>162.666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6</c:f>
              <c:strCache>
                <c:ptCount val="5"/>
                <c:pt idx="0">
                  <c:v>60ML</c:v>
                </c:pt>
                <c:pt idx="1">
                  <c:v>118ML</c:v>
                </c:pt>
                <c:pt idx="2">
                  <c:v>180ML</c:v>
                </c:pt>
                <c:pt idx="3">
                  <c:v>236ML</c:v>
                </c:pt>
                <c:pt idx="4">
                  <c:v>472ML</c:v>
                </c:pt>
              </c:strCache>
            </c:strRef>
          </c:cat>
          <c:val>
            <c:numRef>
              <c:f>Sheet1!$D$2:$D$6</c:f>
              <c:numCache>
                <c:formatCode>General</c:formatCode>
                <c:ptCount val="5"/>
                <c:pt idx="0">
                  <c:v>68.20243220338983</c:v>
                </c:pt>
                <c:pt idx="1">
                  <c:v>134.13145</c:v>
                </c:pt>
                <c:pt idx="2">
                  <c:v>204.60729661016947</c:v>
                </c:pt>
                <c:pt idx="3">
                  <c:v>268.2629</c:v>
                </c:pt>
                <c:pt idx="4">
                  <c:v>536.525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2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5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7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60ML</c:v>
                </c:pt>
                <c:pt idx="1">
                  <c:v>118ML</c:v>
                </c:pt>
                <c:pt idx="2">
                  <c:v>180ML</c:v>
                </c:pt>
                <c:pt idx="3">
                  <c:v>236ML</c:v>
                </c:pt>
                <c:pt idx="4">
                  <c:v>472ML</c:v>
                </c:pt>
              </c:strCache>
            </c:strRef>
          </c:cat>
          <c:val>
            <c:numRef>
              <c:f>Sheet1!$E$2:$E$6</c:f>
              <c:numCache>
                <c:formatCode>General</c:formatCode>
                <c:ptCount val="5"/>
                <c:pt idx="0">
                  <c:v>178.01896610169493</c:v>
                </c:pt>
                <c:pt idx="1">
                  <c:v>147.630925</c:v>
                </c:pt>
                <c:pt idx="2">
                  <c:v>260.36054830508476</c:v>
                </c:pt>
                <c:pt idx="3">
                  <c:v>268.2629</c:v>
                </c:pt>
                <c:pt idx="4">
                  <c:v>349.596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1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340ML</c:v>
                </c:pt>
              </c:strCache>
            </c:strRef>
          </c:cat>
          <c:val>
            <c:numRef>
              <c:f>Sheet1!$B$2:$B$3</c:f>
              <c:numCache>
                <c:formatCode>General</c:formatCode>
                <c:ptCount val="2"/>
                <c:pt idx="0">
                  <c:v>1.88946</c:v>
                </c:pt>
                <c:pt idx="1">
                  <c:v>0.7270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0.52</a:t>
                    </a:r>
                  </a:p>
                </c:rich>
              </c:tx>
              <c:dLblPos val="t"/>
              <c:showLegendKey val="0"/>
              <c:showVal val="1"/>
              <c:showCatName val="0"/>
              <c:showSerName val="0"/>
              <c:showPercent val="0"/>
              <c:showBubbleSize val="0"/>
            </c:dLbl>
            <c:dLbl>
              <c:idx val="1"/>
              <c:tx>
                <c:rich>
                  <a:bodyPr/>
                  <a:lstStyle/>
                  <a:p>
                    <a:r>
                      <a:t>242.5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340ML</c:v>
                </c:pt>
              </c:strCache>
            </c:strRef>
          </c:cat>
          <c:val>
            <c:numRef>
              <c:f>Sheet1!$C$2:$C$3</c:f>
              <c:numCache>
                <c:formatCode>General</c:formatCode>
                <c:ptCount val="2"/>
                <c:pt idx="0">
                  <c:v>310.5189</c:v>
                </c:pt>
                <c:pt idx="1">
                  <c:v>242.528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340ML</c:v>
                </c:pt>
              </c:strCache>
            </c:strRef>
          </c:cat>
          <c:val>
            <c:numRef>
              <c:f>Sheet1!$D$2:$D$3</c:f>
              <c:numCache>
                <c:formatCode>General</c:formatCode>
                <c:ptCount val="2"/>
                <c:pt idx="0">
                  <c:v>310.5189</c:v>
                </c:pt>
                <c:pt idx="1">
                  <c:v>621.037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340ML</c:v>
                </c:pt>
              </c:strCache>
            </c:strRef>
          </c:cat>
          <c:val>
            <c:numRef>
              <c:f>Sheet1!$E$2:$E$3</c:f>
              <c:numCache>
                <c:formatCode>General</c:formatCode>
                <c:ptCount val="2"/>
                <c:pt idx="0">
                  <c:v>310.5189</c:v>
                </c:pt>
                <c:pt idx="1">
                  <c:v>431.783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15.09995</c:v>
                </c:pt>
                <c:pt idx="1">
                  <c:v>94.8239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96.2</a:t>
                    </a:r>
                  </a:p>
                </c:rich>
              </c:tx>
              <c:dLblPos val="t"/>
              <c:showLegendKey val="0"/>
              <c:showVal val="1"/>
              <c:showCatName val="0"/>
              <c:showSerName val="0"/>
              <c:showPercent val="0"/>
              <c:showBubbleSize val="0"/>
            </c:dLbl>
            <c:dLbl>
              <c:idx val="1"/>
              <c:tx>
                <c:rich>
                  <a:bodyPr/>
                  <a:lstStyle/>
                  <a:p>
                    <a:r>
                      <a:t>281.6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296.204</c:v>
                </c:pt>
                <c:pt idx="1">
                  <c:v>281.606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14.7844661016949</c:v>
                </c:pt>
                <c:pt idx="1">
                  <c:v>281.606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255.49423305084747</c:v>
                </c:pt>
                <c:pt idx="1">
                  <c:v>281.606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8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220ML</c:v>
                </c:pt>
              </c:strCache>
            </c:strRef>
          </c:cat>
          <c:val>
            <c:numRef>
              <c:f>Sheet1!$B$2:$B$3</c:f>
              <c:numCache>
                <c:formatCode>General</c:formatCode>
                <c:ptCount val="2"/>
                <c:pt idx="0">
                  <c:v>9.78034</c:v>
                </c:pt>
                <c:pt idx="1">
                  <c:v>52.1897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8.11</a:t>
                    </a:r>
                  </a:p>
                </c:rich>
              </c:tx>
              <c:dLblPos val="t"/>
              <c:showLegendKey val="0"/>
              <c:showVal val="1"/>
              <c:showCatName val="0"/>
              <c:showSerName val="0"/>
              <c:showPercent val="0"/>
              <c:showBubbleSize val="0"/>
            </c:dLbl>
            <c:dLbl>
              <c:idx val="1"/>
              <c:tx>
                <c:rich>
                  <a:bodyPr/>
                  <a:lstStyle/>
                  <a:p>
                    <a:r>
                      <a:t>311.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220ML</c:v>
                </c:pt>
              </c:strCache>
            </c:strRef>
          </c:cat>
          <c:val>
            <c:numRef>
              <c:f>Sheet1!$C$2:$C$3</c:f>
              <c:numCache>
                <c:formatCode>General</c:formatCode>
                <c:ptCount val="2"/>
                <c:pt idx="0">
                  <c:v>288.1112</c:v>
                </c:pt>
                <c:pt idx="1">
                  <c:v>311.92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220ML</c:v>
                </c:pt>
              </c:strCache>
            </c:strRef>
          </c:cat>
          <c:val>
            <c:numRef>
              <c:f>Sheet1!$D$2:$D$3</c:f>
              <c:numCache>
                <c:formatCode>General</c:formatCode>
                <c:ptCount val="2"/>
                <c:pt idx="0">
                  <c:v>241.03372727272725</c:v>
                </c:pt>
                <c:pt idx="1">
                  <c:v>311.92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220ML</c:v>
                </c:pt>
              </c:strCache>
            </c:strRef>
          </c:cat>
          <c:val>
            <c:numRef>
              <c:f>Sheet1!$E$2:$E$3</c:f>
              <c:numCache>
                <c:formatCode>General</c:formatCode>
                <c:ptCount val="2"/>
                <c:pt idx="0">
                  <c:v>264.57246363636364</c:v>
                </c:pt>
                <c:pt idx="1">
                  <c:v>311.92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0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180ML</c:v>
                </c:pt>
              </c:strCache>
            </c:strRef>
          </c:cat>
          <c:val>
            <c:numRef>
              <c:f>Sheet1!$B$2:$B$3</c:f>
              <c:numCache>
                <c:formatCode>General</c:formatCode>
                <c:ptCount val="2"/>
                <c:pt idx="0">
                  <c:v>1.62294</c:v>
                </c:pt>
                <c:pt idx="1">
                  <c:v>12.2335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9.08</a:t>
                    </a:r>
                  </a:p>
                </c:rich>
              </c:tx>
              <c:dLblPos val="t"/>
              <c:showLegendKey val="0"/>
              <c:showVal val="1"/>
              <c:showCatName val="0"/>
              <c:showSerName val="0"/>
              <c:showPercent val="0"/>
              <c:showBubbleSize val="0"/>
            </c:dLbl>
            <c:dLbl>
              <c:idx val="1"/>
              <c:tx>
                <c:rich>
                  <a:bodyPr/>
                  <a:lstStyle/>
                  <a:p>
                    <a:r>
                      <a:t>318.7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180ML</c:v>
                </c:pt>
              </c:strCache>
            </c:strRef>
          </c:cat>
          <c:val>
            <c:numRef>
              <c:f>Sheet1!$C$2:$C$3</c:f>
              <c:numCache>
                <c:formatCode>General</c:formatCode>
                <c:ptCount val="2"/>
                <c:pt idx="0">
                  <c:v>89.0784</c:v>
                </c:pt>
                <c:pt idx="1">
                  <c:v>318.707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180ML</c:v>
                </c:pt>
              </c:strCache>
            </c:strRef>
          </c:cat>
          <c:val>
            <c:numRef>
              <c:f>Sheet1!$D$2:$D$3</c:f>
              <c:numCache>
                <c:formatCode>General</c:formatCode>
                <c:ptCount val="2"/>
                <c:pt idx="0">
                  <c:v>106.2359</c:v>
                </c:pt>
                <c:pt idx="1">
                  <c:v>318.707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180ML</c:v>
                </c:pt>
              </c:strCache>
            </c:strRef>
          </c:cat>
          <c:val>
            <c:numRef>
              <c:f>Sheet1!$E$2:$E$3</c:f>
              <c:numCache>
                <c:formatCode>General</c:formatCode>
                <c:ptCount val="2"/>
                <c:pt idx="0">
                  <c:v>97.65715</c:v>
                </c:pt>
                <c:pt idx="1">
                  <c:v>318.70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90ML</c:v>
                </c:pt>
                <c:pt idx="1">
                  <c:v>120ML</c:v>
                </c:pt>
                <c:pt idx="2">
                  <c:v>240ML</c:v>
                </c:pt>
              </c:strCache>
            </c:strRef>
          </c:cat>
          <c:val>
            <c:numRef>
              <c:f>Sheet1!$B$2:$B$4</c:f>
              <c:numCache>
                <c:formatCode>General</c:formatCode>
                <c:ptCount val="3"/>
                <c:pt idx="0">
                  <c:v>0.01891</c:v>
                </c:pt>
                <c:pt idx="1">
                  <c:v>58.97682</c:v>
                </c:pt>
                <c:pt idx="2">
                  <c:v>292.481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4.0</a:t>
                    </a:r>
                  </a:p>
                </c:rich>
              </c:tx>
              <c:dLblPos val="t"/>
              <c:showLegendKey val="0"/>
              <c:showVal val="1"/>
              <c:showCatName val="0"/>
              <c:showSerName val="0"/>
              <c:showPercent val="0"/>
              <c:showBubbleSize val="0"/>
            </c:dLbl>
            <c:dLbl>
              <c:idx val="1"/>
              <c:tx>
                <c:rich>
                  <a:bodyPr/>
                  <a:lstStyle/>
                  <a:p>
                    <a:r>
                      <a:t>188.93</a:t>
                    </a:r>
                  </a:p>
                </c:rich>
              </c:tx>
              <c:dLblPos val="t"/>
              <c:showLegendKey val="0"/>
              <c:showVal val="1"/>
              <c:showCatName val="0"/>
              <c:showSerName val="0"/>
              <c:showPercent val="0"/>
              <c:showBubbleSize val="0"/>
            </c:dLbl>
            <c:dLbl>
              <c:idx val="2"/>
              <c:tx>
                <c:rich>
                  <a:bodyPr/>
                  <a:lstStyle/>
                  <a:p>
                    <a:r>
                      <a:t>301.3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90ML</c:v>
                </c:pt>
                <c:pt idx="1">
                  <c:v>120ML</c:v>
                </c:pt>
                <c:pt idx="2">
                  <c:v>240ML</c:v>
                </c:pt>
              </c:strCache>
            </c:strRef>
          </c:cat>
          <c:val>
            <c:numRef>
              <c:f>Sheet1!$C$2:$C$4</c:f>
              <c:numCache>
                <c:formatCode>General</c:formatCode>
                <c:ptCount val="3"/>
                <c:pt idx="0">
                  <c:v>94.0</c:v>
                </c:pt>
                <c:pt idx="1">
                  <c:v>188.9348</c:v>
                </c:pt>
                <c:pt idx="2">
                  <c:v>301.371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90ML</c:v>
                </c:pt>
                <c:pt idx="1">
                  <c:v>120ML</c:v>
                </c:pt>
                <c:pt idx="2">
                  <c:v>240ML</c:v>
                </c:pt>
              </c:strCache>
            </c:strRef>
          </c:cat>
          <c:val>
            <c:numRef>
              <c:f>Sheet1!$D$2:$D$4</c:f>
              <c:numCache>
                <c:formatCode>General</c:formatCode>
                <c:ptCount val="3"/>
                <c:pt idx="0">
                  <c:v>113.0143875</c:v>
                </c:pt>
                <c:pt idx="1">
                  <c:v>150.68585</c:v>
                </c:pt>
                <c:pt idx="2">
                  <c:v>301.371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90ML</c:v>
                </c:pt>
                <c:pt idx="1">
                  <c:v>120ML</c:v>
                </c:pt>
                <c:pt idx="2">
                  <c:v>240ML</c:v>
                </c:pt>
              </c:strCache>
            </c:strRef>
          </c:cat>
          <c:val>
            <c:numRef>
              <c:f>Sheet1!$E$2:$E$4</c:f>
              <c:numCache>
                <c:formatCode>General</c:formatCode>
                <c:ptCount val="3"/>
                <c:pt idx="0">
                  <c:v>103.50719375</c:v>
                </c:pt>
                <c:pt idx="1">
                  <c:v>169.81032499999998</c:v>
                </c:pt>
                <c:pt idx="2">
                  <c:v>301.371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8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5"/>
              <c:tx>
                <c:rich>
                  <a:bodyPr/>
                  <a:lstStyle/>
                  <a:p/>
                </c:rich>
              </c:tx>
              <c:showLegendKey val="0"/>
              <c:showVal val="1"/>
              <c:showCatName val="0"/>
              <c:showSerName val="0"/>
              <c:showPercent val="0"/>
              <c:showBubbleSize val="0"/>
            </c:dLbl>
            <c:dLbl>
              <c:idx val="6"/>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50ML</c:v>
                </c:pt>
                <c:pt idx="1">
                  <c:v>60ML</c:v>
                </c:pt>
                <c:pt idx="2">
                  <c:v>90ML</c:v>
                </c:pt>
                <c:pt idx="3">
                  <c:v>120ML</c:v>
                </c:pt>
                <c:pt idx="4">
                  <c:v>150ML</c:v>
                </c:pt>
                <c:pt idx="5">
                  <c:v>180ML</c:v>
                </c:pt>
                <c:pt idx="6">
                  <c:v>240ML</c:v>
                </c:pt>
              </c:strCache>
            </c:strRef>
          </c:cat>
          <c:val>
            <c:numRef>
              <c:f>Sheet1!$B$2:$B$8</c:f>
              <c:numCache>
                <c:formatCode>General</c:formatCode>
                <c:ptCount val="7"/>
                <c:pt idx="0">
                  <c:v>5.21673</c:v>
                </c:pt>
                <c:pt idx="1">
                  <c:v>21.1468</c:v>
                </c:pt>
                <c:pt idx="2">
                  <c:v>53.47029</c:v>
                </c:pt>
                <c:pt idx="3">
                  <c:v>26.77669</c:v>
                </c:pt>
                <c:pt idx="4">
                  <c:v>1.45853</c:v>
                </c:pt>
                <c:pt idx="5">
                  <c:v>59.81873</c:v>
                </c:pt>
                <c:pt idx="6">
                  <c:v>230.1722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4.44</a:t>
                    </a:r>
                  </a:p>
                </c:rich>
              </c:tx>
              <c:dLblPos val="t"/>
              <c:showLegendKey val="0"/>
              <c:showVal val="1"/>
              <c:showCatName val="0"/>
              <c:showSerName val="0"/>
              <c:showPercent val="0"/>
              <c:showBubbleSize val="0"/>
            </c:dLbl>
            <c:dLbl>
              <c:idx val="1"/>
              <c:tx>
                <c:rich>
                  <a:bodyPr/>
                  <a:lstStyle/>
                  <a:p>
                    <a:r>
                      <a:t>115.3</a:t>
                    </a:r>
                  </a:p>
                </c:rich>
              </c:tx>
              <c:dLblPos val="t"/>
              <c:showLegendKey val="0"/>
              <c:showVal val="1"/>
              <c:showCatName val="0"/>
              <c:showSerName val="0"/>
              <c:showPercent val="0"/>
              <c:showBubbleSize val="0"/>
            </c:dLbl>
            <c:dLbl>
              <c:idx val="2"/>
              <c:tx>
                <c:rich>
                  <a:bodyPr/>
                  <a:lstStyle/>
                  <a:p>
                    <a:r>
                      <a:t>101.93</a:t>
                    </a:r>
                  </a:p>
                </c:rich>
              </c:tx>
              <c:dLblPos val="t"/>
              <c:showLegendKey val="0"/>
              <c:showVal val="1"/>
              <c:showCatName val="0"/>
              <c:showSerName val="0"/>
              <c:showPercent val="0"/>
              <c:showBubbleSize val="0"/>
            </c:dLbl>
            <c:dLbl>
              <c:idx val="3"/>
              <c:tx>
                <c:rich>
                  <a:bodyPr/>
                  <a:lstStyle/>
                  <a:p>
                    <a:r>
                      <a:t>189.58</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32.59</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dLbl>
              <c:idx val="5"/>
              <c:tx>
                <c:rich>
                  <a:bodyPr/>
                  <a:lstStyle/>
                  <a:p>
                    <a:r>
                      <a:t>295.36</a:t>
                    </a:r>
                  </a:p>
                </c:rich>
              </c:tx>
              <c:dLblPos val="t"/>
              <c:showLegendKey val="0"/>
              <c:showVal val="1"/>
              <c:showCatName val="0"/>
              <c:showSerName val="0"/>
              <c:showPercent val="0"/>
              <c:showBubbleSize val="0"/>
            </c:dLbl>
            <c:dLbl>
              <c:idx val="6"/>
              <c:tx>
                <c:rich>
                  <a:bodyPr/>
                  <a:lstStyle/>
                  <a:p>
                    <a:r>
                      <a:t>299.67</a:t>
                    </a:r>
                  </a:p>
                </c:rich>
              </c:tx>
              <c:dLblPos val="t"/>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C$2:$C$8</c:f>
              <c:numCache>
                <c:formatCode>General</c:formatCode>
                <c:ptCount val="7"/>
                <c:pt idx="0">
                  <c:v>284.4386</c:v>
                </c:pt>
                <c:pt idx="1">
                  <c:v>115.2977</c:v>
                </c:pt>
                <c:pt idx="2">
                  <c:v>101.9324</c:v>
                </c:pt>
                <c:pt idx="3">
                  <c:v>189.579</c:v>
                </c:pt>
                <c:pt idx="4">
                  <c:v>232.5881</c:v>
                </c:pt>
                <c:pt idx="5">
                  <c:v>295.3592</c:v>
                </c:pt>
                <c:pt idx="6">
                  <c:v>299.666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8</c:f>
              <c:strCache>
                <c:ptCount val="7"/>
                <c:pt idx="0">
                  <c:v>50ML</c:v>
                </c:pt>
                <c:pt idx="1">
                  <c:v>60ML</c:v>
                </c:pt>
                <c:pt idx="2">
                  <c:v>90ML</c:v>
                </c:pt>
                <c:pt idx="3">
                  <c:v>120ML</c:v>
                </c:pt>
                <c:pt idx="4">
                  <c:v>150ML</c:v>
                </c:pt>
                <c:pt idx="5">
                  <c:v>180ML</c:v>
                </c:pt>
                <c:pt idx="6">
                  <c:v>240ML</c:v>
                </c:pt>
              </c:strCache>
            </c:strRef>
          </c:cat>
          <c:val>
            <c:numRef>
              <c:f>Sheet1!$D$2:$D$8</c:f>
              <c:numCache>
                <c:formatCode>General</c:formatCode>
                <c:ptCount val="7"/>
                <c:pt idx="0">
                  <c:v>62.43045833333334</c:v>
                </c:pt>
                <c:pt idx="1">
                  <c:v>74.91655</c:v>
                </c:pt>
                <c:pt idx="2">
                  <c:v>112.37482500000002</c:v>
                </c:pt>
                <c:pt idx="3">
                  <c:v>149.8331</c:v>
                </c:pt>
                <c:pt idx="4">
                  <c:v>187.29137500000002</c:v>
                </c:pt>
                <c:pt idx="5">
                  <c:v>224.74965000000003</c:v>
                </c:pt>
                <c:pt idx="6">
                  <c:v>299.666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5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2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2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t>3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t>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E$2:$E$8</c:f>
              <c:numCache>
                <c:formatCode>General</c:formatCode>
                <c:ptCount val="7"/>
                <c:pt idx="0">
                  <c:v>173.43452916666666</c:v>
                </c:pt>
                <c:pt idx="1">
                  <c:v>95.107125</c:v>
                </c:pt>
                <c:pt idx="2">
                  <c:v>107.15361250000001</c:v>
                </c:pt>
                <c:pt idx="3">
                  <c:v>169.70605</c:v>
                </c:pt>
                <c:pt idx="4">
                  <c:v>209.9397375</c:v>
                </c:pt>
                <c:pt idx="5">
                  <c:v>260.05442500000004</c:v>
                </c:pt>
                <c:pt idx="6">
                  <c:v>299.666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6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6</c:f>
              <c:strCache>
                <c:ptCount val="5"/>
                <c:pt idx="0">
                  <c:v>100ML</c:v>
                </c:pt>
                <c:pt idx="1">
                  <c:v>150ML</c:v>
                </c:pt>
                <c:pt idx="2">
                  <c:v>177ML</c:v>
                </c:pt>
                <c:pt idx="3">
                  <c:v>180ML</c:v>
                </c:pt>
                <c:pt idx="4">
                  <c:v>220ML</c:v>
                </c:pt>
              </c:strCache>
            </c:strRef>
          </c:cat>
          <c:val>
            <c:numRef>
              <c:f>Sheet1!$B$2:$B$6</c:f>
              <c:numCache>
                <c:formatCode>General</c:formatCode>
                <c:ptCount val="5"/>
                <c:pt idx="0">
                  <c:v>5.10985</c:v>
                </c:pt>
                <c:pt idx="1">
                  <c:v>7.09989</c:v>
                </c:pt>
                <c:pt idx="2">
                  <c:v>5.30129</c:v>
                </c:pt>
                <c:pt idx="3">
                  <c:v>89.9414</c:v>
                </c:pt>
                <c:pt idx="4">
                  <c:v>29.0655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25.83</a:t>
                    </a:r>
                  </a:p>
                </c:rich>
              </c:tx>
              <c:dLblPos val="t"/>
              <c:showLegendKey val="0"/>
              <c:showVal val="1"/>
              <c:showCatName val="0"/>
              <c:showSerName val="0"/>
              <c:showPercent val="0"/>
              <c:showBubbleSize val="0"/>
            </c:dLbl>
            <c:dLbl>
              <c:idx val="1"/>
              <c:tx>
                <c:rich>
                  <a:bodyPr/>
                  <a:lstStyle/>
                  <a:p>
                    <a:r>
                      <a:t>278.64</a:t>
                    </a:r>
                  </a:p>
                </c:rich>
              </c:tx>
              <c:dLblPos val="t"/>
              <c:showLegendKey val="0"/>
              <c:showVal val="1"/>
              <c:showCatName val="0"/>
              <c:showSerName val="0"/>
              <c:showPercent val="0"/>
              <c:showBubbleSize val="0"/>
            </c:dLbl>
            <c:dLbl>
              <c:idx val="2"/>
              <c:tx>
                <c:rich>
                  <a:bodyPr/>
                  <a:lstStyle/>
                  <a:p>
                    <a:r>
                      <a:t>253.07</a:t>
                    </a:r>
                  </a:p>
                </c:rich>
              </c:tx>
              <c:dLblPos val="t"/>
              <c:showLegendKey val="0"/>
              <c:showVal val="1"/>
              <c:showCatName val="0"/>
              <c:showSerName val="0"/>
              <c:showPercent val="0"/>
              <c:showBubbleSize val="0"/>
            </c:dLbl>
            <c:dLbl>
              <c:idx val="3"/>
              <c:tx>
                <c:rich>
                  <a:bodyPr/>
                  <a:lstStyle/>
                  <a:p>
                    <a:r>
                      <a:t>311.06</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92.64</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100ML</c:v>
                </c:pt>
                <c:pt idx="1">
                  <c:v>150ML</c:v>
                </c:pt>
                <c:pt idx="2">
                  <c:v>177ML</c:v>
                </c:pt>
                <c:pt idx="3">
                  <c:v>180ML</c:v>
                </c:pt>
                <c:pt idx="4">
                  <c:v>220ML</c:v>
                </c:pt>
              </c:strCache>
            </c:strRef>
          </c:cat>
          <c:val>
            <c:numRef>
              <c:f>Sheet1!$C$2:$C$6</c:f>
              <c:numCache>
                <c:formatCode>General</c:formatCode>
                <c:ptCount val="5"/>
                <c:pt idx="0">
                  <c:v>325.8275</c:v>
                </c:pt>
                <c:pt idx="1">
                  <c:v>278.6412</c:v>
                </c:pt>
                <c:pt idx="2">
                  <c:v>253.0656</c:v>
                </c:pt>
                <c:pt idx="3">
                  <c:v>311.0574</c:v>
                </c:pt>
                <c:pt idx="4">
                  <c:v>292.641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6</c:f>
              <c:strCache>
                <c:ptCount val="5"/>
                <c:pt idx="0">
                  <c:v>100ML</c:v>
                </c:pt>
                <c:pt idx="1">
                  <c:v>150ML</c:v>
                </c:pt>
                <c:pt idx="2">
                  <c:v>177ML</c:v>
                </c:pt>
                <c:pt idx="3">
                  <c:v>180ML</c:v>
                </c:pt>
                <c:pt idx="4">
                  <c:v>220ML</c:v>
                </c:pt>
              </c:strCache>
            </c:strRef>
          </c:cat>
          <c:val>
            <c:numRef>
              <c:f>Sheet1!$D$2:$D$6</c:f>
              <c:numCache>
                <c:formatCode>General</c:formatCode>
                <c:ptCount val="5"/>
                <c:pt idx="0">
                  <c:v>172.80966666666666</c:v>
                </c:pt>
                <c:pt idx="1">
                  <c:v>259.2145</c:v>
                </c:pt>
                <c:pt idx="2">
                  <c:v>305.87311</c:v>
                </c:pt>
                <c:pt idx="3">
                  <c:v>311.0574</c:v>
                </c:pt>
                <c:pt idx="4">
                  <c:v>380.1812666666666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8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2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100ML</c:v>
                </c:pt>
                <c:pt idx="1">
                  <c:v>150ML</c:v>
                </c:pt>
                <c:pt idx="2">
                  <c:v>177ML</c:v>
                </c:pt>
                <c:pt idx="3">
                  <c:v>180ML</c:v>
                </c:pt>
                <c:pt idx="4">
                  <c:v>220ML</c:v>
                </c:pt>
              </c:strCache>
            </c:strRef>
          </c:cat>
          <c:val>
            <c:numRef>
              <c:f>Sheet1!$E$2:$E$6</c:f>
              <c:numCache>
                <c:formatCode>General</c:formatCode>
                <c:ptCount val="5"/>
                <c:pt idx="0">
                  <c:v>249.31858333333332</c:v>
                </c:pt>
                <c:pt idx="1">
                  <c:v>268.92785000000003</c:v>
                </c:pt>
                <c:pt idx="2">
                  <c:v>279.469355</c:v>
                </c:pt>
                <c:pt idx="3">
                  <c:v>311.0574</c:v>
                </c:pt>
                <c:pt idx="4">
                  <c:v>336.4113333333333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7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240ML</c:v>
                </c:pt>
              </c:strCache>
            </c:strRef>
          </c:cat>
          <c:val>
            <c:numRef>
              <c:f>Sheet1!$B$2:$B$3</c:f>
              <c:numCache>
                <c:formatCode>General</c:formatCode>
                <c:ptCount val="2"/>
                <c:pt idx="0">
                  <c:v>32.36489</c:v>
                </c:pt>
                <c:pt idx="1">
                  <c:v>133.7967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6.25</a:t>
                    </a:r>
                  </a:p>
                </c:rich>
              </c:tx>
              <c:dLblPos val="t"/>
              <c:showLegendKey val="0"/>
              <c:showVal val="1"/>
              <c:showCatName val="0"/>
              <c:showSerName val="0"/>
              <c:showPercent val="0"/>
              <c:showBubbleSize val="0"/>
            </c:dLbl>
            <c:dLbl>
              <c:idx val="1"/>
              <c:tx>
                <c:rich>
                  <a:bodyPr/>
                  <a:lstStyle/>
                  <a:p>
                    <a:r>
                      <a:t>305.1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240ML</c:v>
                </c:pt>
              </c:strCache>
            </c:strRef>
          </c:cat>
          <c:val>
            <c:numRef>
              <c:f>Sheet1!$C$2:$C$3</c:f>
              <c:numCache>
                <c:formatCode>General</c:formatCode>
                <c:ptCount val="2"/>
                <c:pt idx="0">
                  <c:v>86.2496</c:v>
                </c:pt>
                <c:pt idx="1">
                  <c:v>305.151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240ML</c:v>
                </c:pt>
              </c:strCache>
            </c:strRef>
          </c:cat>
          <c:val>
            <c:numRef>
              <c:f>Sheet1!$D$2:$D$3</c:f>
              <c:numCache>
                <c:formatCode>General</c:formatCode>
                <c:ptCount val="2"/>
                <c:pt idx="0">
                  <c:v>76.28795</c:v>
                </c:pt>
                <c:pt idx="1">
                  <c:v>305.151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240ML</c:v>
                </c:pt>
              </c:strCache>
            </c:strRef>
          </c:cat>
          <c:val>
            <c:numRef>
              <c:f>Sheet1!$E$2:$E$3</c:f>
              <c:numCache>
                <c:formatCode>General</c:formatCode>
                <c:ptCount val="2"/>
                <c:pt idx="0">
                  <c:v>81.268775</c:v>
                </c:pt>
                <c:pt idx="1">
                  <c:v>305.151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6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3/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3/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eauty Care Sunscreen Cosmetics Liquido Sunscreen Cosmetics No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4087552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Crema Sunscreen Cosmetics No Spray Crema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6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9649244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iquido Sunscreen Cosmetics No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4613367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iquido Sunscreen Cosmetics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907777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ocion Sunscreen Cosmetics No Spray Locion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6717890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Crema Sunscreen Sport No Spray Crema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6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707771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Liquido Sunscreen Sport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6995766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Locion Sunscreen Sport No Spray Locion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6815702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 Sunscreen Sunscreen | Sunscreen Sunscreen | Sunscreen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623197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eauty Care Sunscreen Cosmetics Liquido Sunscreen Cosmetics No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3966848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After Sun Cosmetics Gel After Sun Cosmetics No Spray Gel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41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974755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Crema Sunscreen Cosmetics No Spray Crema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1284090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Crema Sunscreen Cosmetics No Spray Crema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6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7832707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iquido Sunscreen Cosmetics No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377907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iquido Sunscreen Cosmetics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3672161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ocion Sunscreen Cosmetics No Spray Locion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6"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083457">
                  <a:extLst>
                    <a:ext uri="{9D8B030D-6E8A-4147-A177-3AD203B41FA5}">
                      <a16:colId xmlns:a16="http://schemas.microsoft.com/office/drawing/2014/main" val="2253286919"/>
                    </a:ext>
                  </a:extLst>
                </a:gridCol>
                <a:gridCol w="1083457">
                  <a:extLst>
                    <a:ext uri="{9D8B030D-6E8A-4147-A177-3AD203B41FA5}">
                      <a16:colId xmlns:a16="http://schemas.microsoft.com/office/drawing/2014/main" val="2739285047"/>
                    </a:ext>
                  </a:extLst>
                </a:gridCol>
                <a:gridCol w="1083457">
                  <a:extLst>
                    <a:ext uri="{9D8B030D-6E8A-4147-A177-3AD203B41FA5}">
                      <a16:colId xmlns:a16="http://schemas.microsoft.com/office/drawing/2014/main" val="686050863"/>
                    </a:ext>
                  </a:extLst>
                </a:gridCol>
                <a:gridCol w="1083457">
                  <a:extLst>
                    <a:ext uri="{9D8B030D-6E8A-4147-A177-3AD203B41FA5}">
                      <a16:colId xmlns:a16="http://schemas.microsoft.com/office/drawing/2014/main" val="3765127706"/>
                    </a:ext>
                  </a:extLst>
                </a:gridCol>
                <a:gridCol w="1083457">
                  <a:extLst>
                    <a:ext uri="{9D8B030D-6E8A-4147-A177-3AD203B41FA5}">
                      <a16:colId xmlns:a16="http://schemas.microsoft.com/office/drawing/2014/main" val="273303937"/>
                    </a:ext>
                  </a:extLst>
                </a:gridCol>
                <a:gridCol w="1083457">
                  <a:extLst>
                    <a:ext uri="{9D8B030D-6E8A-4147-A177-3AD203B41FA5}">
                      <a16:colId xmlns:a16="http://schemas.microsoft.com/office/drawing/2014/main" val="1190134658"/>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6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8252766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Spray Sunscreen Cosmetics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3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968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2441999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Crema Sunscreen Sport No Spray Crema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3012525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Liquido Sunscreen Sport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6240998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Locion Sunscreen Sport No Spray Locion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0779835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 Sunscreen Sunscreen | Sunscreen Sunscreen | Sunscreen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41193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After Sun Cosmetics Gel After Sun Cosmetics No Spray Gel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413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532048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Liquido Sunscreen Cosmetics No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60"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928678">
                  <a:extLst>
                    <a:ext uri="{9D8B030D-6E8A-4147-A177-3AD203B41FA5}">
                      <a16:colId xmlns:a16="http://schemas.microsoft.com/office/drawing/2014/main" val="2253286919"/>
                    </a:ext>
                  </a:extLst>
                </a:gridCol>
                <a:gridCol w="928678">
                  <a:extLst>
                    <a:ext uri="{9D8B030D-6E8A-4147-A177-3AD203B41FA5}">
                      <a16:colId xmlns:a16="http://schemas.microsoft.com/office/drawing/2014/main" val="2739285047"/>
                    </a:ext>
                  </a:extLst>
                </a:gridCol>
                <a:gridCol w="928678">
                  <a:extLst>
                    <a:ext uri="{9D8B030D-6E8A-4147-A177-3AD203B41FA5}">
                      <a16:colId xmlns:a16="http://schemas.microsoft.com/office/drawing/2014/main" val="686050863"/>
                    </a:ext>
                  </a:extLst>
                </a:gridCol>
                <a:gridCol w="928678">
                  <a:extLst>
                    <a:ext uri="{9D8B030D-6E8A-4147-A177-3AD203B41FA5}">
                      <a16:colId xmlns:a16="http://schemas.microsoft.com/office/drawing/2014/main" val="3765127706"/>
                    </a:ext>
                  </a:extLst>
                </a:gridCol>
                <a:gridCol w="928678">
                  <a:extLst>
                    <a:ext uri="{9D8B030D-6E8A-4147-A177-3AD203B41FA5}">
                      <a16:colId xmlns:a16="http://schemas.microsoft.com/office/drawing/2014/main" val="273303937"/>
                    </a:ext>
                  </a:extLst>
                </a:gridCol>
                <a:gridCol w="928678">
                  <a:extLst>
                    <a:ext uri="{9D8B030D-6E8A-4147-A177-3AD203B41FA5}">
                      <a16:colId xmlns:a16="http://schemas.microsoft.com/office/drawing/2014/main" val="1190134658"/>
                    </a:ext>
                  </a:extLst>
                </a:gridCol>
                <a:gridCol w="928678">
                  <a:extLst>
                    <a:ext uri="{9D8B030D-6E8A-4147-A177-3AD203B41FA5}">
                      <a16:colId xmlns:a16="http://schemas.microsoft.com/office/drawing/2014/main" val="1152288185"/>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73497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9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1615996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Crema Sunscreen Cosmetics No Spray Crema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5243251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iquido Sunscreen Cosmetics No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4932111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iquido Sunscreen Cosmetics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7203251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ocion Sunscreen Cosmetics No Spray Locion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300148">
                  <a:extLst>
                    <a:ext uri="{9D8B030D-6E8A-4147-A177-3AD203B41FA5}">
                      <a16:colId xmlns:a16="http://schemas.microsoft.com/office/drawing/2014/main" val="2253286919"/>
                    </a:ext>
                  </a:extLst>
                </a:gridCol>
                <a:gridCol w="1300148">
                  <a:extLst>
                    <a:ext uri="{9D8B030D-6E8A-4147-A177-3AD203B41FA5}">
                      <a16:colId xmlns:a16="http://schemas.microsoft.com/office/drawing/2014/main" val="2739285047"/>
                    </a:ext>
                  </a:extLst>
                </a:gridCol>
                <a:gridCol w="1300148">
                  <a:extLst>
                    <a:ext uri="{9D8B030D-6E8A-4147-A177-3AD203B41FA5}">
                      <a16:colId xmlns:a16="http://schemas.microsoft.com/office/drawing/2014/main" val="686050863"/>
                    </a:ext>
                  </a:extLst>
                </a:gridCol>
                <a:gridCol w="1300148">
                  <a:extLst>
                    <a:ext uri="{9D8B030D-6E8A-4147-A177-3AD203B41FA5}">
                      <a16:colId xmlns:a16="http://schemas.microsoft.com/office/drawing/2014/main" val="3765127706"/>
                    </a:ext>
                  </a:extLst>
                </a:gridCol>
                <a:gridCol w="1300148">
                  <a:extLst>
                    <a:ext uri="{9D8B030D-6E8A-4147-A177-3AD203B41FA5}">
                      <a16:colId xmlns:a16="http://schemas.microsoft.com/office/drawing/2014/main" val="27330393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8587848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Spray Sunscreen Cosmetics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967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8991385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Crema Sunscreen Sport No Spray Crema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0809983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Liquido Sunscreen Sport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5533431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Locion Sunscreen Sport No Spray Locion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6546800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 Sunscreen Sunscreen | Sunscreen Sunscreen | Sunscreen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402752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Crema Sunscreen Cosmetics No Spray Crema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069033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Liquido Sunscreen Cosmetics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300148">
                  <a:extLst>
                    <a:ext uri="{9D8B030D-6E8A-4147-A177-3AD203B41FA5}">
                      <a16:colId xmlns:a16="http://schemas.microsoft.com/office/drawing/2014/main" val="2253286919"/>
                    </a:ext>
                  </a:extLst>
                </a:gridCol>
                <a:gridCol w="1300148">
                  <a:extLst>
                    <a:ext uri="{9D8B030D-6E8A-4147-A177-3AD203B41FA5}">
                      <a16:colId xmlns:a16="http://schemas.microsoft.com/office/drawing/2014/main" val="2739285047"/>
                    </a:ext>
                  </a:extLst>
                </a:gridCol>
                <a:gridCol w="1300148">
                  <a:extLst>
                    <a:ext uri="{9D8B030D-6E8A-4147-A177-3AD203B41FA5}">
                      <a16:colId xmlns:a16="http://schemas.microsoft.com/office/drawing/2014/main" val="686050863"/>
                    </a:ext>
                  </a:extLst>
                </a:gridCol>
                <a:gridCol w="1300148">
                  <a:extLst>
                    <a:ext uri="{9D8B030D-6E8A-4147-A177-3AD203B41FA5}">
                      <a16:colId xmlns:a16="http://schemas.microsoft.com/office/drawing/2014/main" val="3765127706"/>
                    </a:ext>
                  </a:extLst>
                </a:gridCol>
                <a:gridCol w="1300148">
                  <a:extLst>
                    <a:ext uri="{9D8B030D-6E8A-4147-A177-3AD203B41FA5}">
                      <a16:colId xmlns:a16="http://schemas.microsoft.com/office/drawing/2014/main" val="27330393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858005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Liquido Sunscreen Cosmetics No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60"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928678">
                  <a:extLst>
                    <a:ext uri="{9D8B030D-6E8A-4147-A177-3AD203B41FA5}">
                      <a16:colId xmlns:a16="http://schemas.microsoft.com/office/drawing/2014/main" val="2253286919"/>
                    </a:ext>
                  </a:extLst>
                </a:gridCol>
                <a:gridCol w="928678">
                  <a:extLst>
                    <a:ext uri="{9D8B030D-6E8A-4147-A177-3AD203B41FA5}">
                      <a16:colId xmlns:a16="http://schemas.microsoft.com/office/drawing/2014/main" val="2739285047"/>
                    </a:ext>
                  </a:extLst>
                </a:gridCol>
                <a:gridCol w="928678">
                  <a:extLst>
                    <a:ext uri="{9D8B030D-6E8A-4147-A177-3AD203B41FA5}">
                      <a16:colId xmlns:a16="http://schemas.microsoft.com/office/drawing/2014/main" val="686050863"/>
                    </a:ext>
                  </a:extLst>
                </a:gridCol>
                <a:gridCol w="928678">
                  <a:extLst>
                    <a:ext uri="{9D8B030D-6E8A-4147-A177-3AD203B41FA5}">
                      <a16:colId xmlns:a16="http://schemas.microsoft.com/office/drawing/2014/main" val="3765127706"/>
                    </a:ext>
                  </a:extLst>
                </a:gridCol>
                <a:gridCol w="928678">
                  <a:extLst>
                    <a:ext uri="{9D8B030D-6E8A-4147-A177-3AD203B41FA5}">
                      <a16:colId xmlns:a16="http://schemas.microsoft.com/office/drawing/2014/main" val="273303937"/>
                    </a:ext>
                  </a:extLst>
                </a:gridCol>
                <a:gridCol w="928678">
                  <a:extLst>
                    <a:ext uri="{9D8B030D-6E8A-4147-A177-3AD203B41FA5}">
                      <a16:colId xmlns:a16="http://schemas.microsoft.com/office/drawing/2014/main" val="1190134658"/>
                    </a:ext>
                  </a:extLst>
                </a:gridCol>
                <a:gridCol w="928678">
                  <a:extLst>
                    <a:ext uri="{9D8B030D-6E8A-4147-A177-3AD203B41FA5}">
                      <a16:colId xmlns:a16="http://schemas.microsoft.com/office/drawing/2014/main" val="1152288185"/>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2720974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Liquido Sunscreen Cosmetics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300148">
                  <a:extLst>
                    <a:ext uri="{9D8B030D-6E8A-4147-A177-3AD203B41FA5}">
                      <a16:colId xmlns:a16="http://schemas.microsoft.com/office/drawing/2014/main" val="2253286919"/>
                    </a:ext>
                  </a:extLst>
                </a:gridCol>
                <a:gridCol w="1300148">
                  <a:extLst>
                    <a:ext uri="{9D8B030D-6E8A-4147-A177-3AD203B41FA5}">
                      <a16:colId xmlns:a16="http://schemas.microsoft.com/office/drawing/2014/main" val="2739285047"/>
                    </a:ext>
                  </a:extLst>
                </a:gridCol>
                <a:gridCol w="1300148">
                  <a:extLst>
                    <a:ext uri="{9D8B030D-6E8A-4147-A177-3AD203B41FA5}">
                      <a16:colId xmlns:a16="http://schemas.microsoft.com/office/drawing/2014/main" val="686050863"/>
                    </a:ext>
                  </a:extLst>
                </a:gridCol>
                <a:gridCol w="1300148">
                  <a:extLst>
                    <a:ext uri="{9D8B030D-6E8A-4147-A177-3AD203B41FA5}">
                      <a16:colId xmlns:a16="http://schemas.microsoft.com/office/drawing/2014/main" val="3765127706"/>
                    </a:ext>
                  </a:extLst>
                </a:gridCol>
                <a:gridCol w="1300148">
                  <a:extLst>
                    <a:ext uri="{9D8B030D-6E8A-4147-A177-3AD203B41FA5}">
                      <a16:colId xmlns:a16="http://schemas.microsoft.com/office/drawing/2014/main" val="27330393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7910952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Sport Liquido Sunscreen Sport No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2476983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eauty Care Sunscreen Cosmetics Liquido Sunscreen Cosmetics No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1075369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ocion Sunscreen Cosmetics No Spray Locion | Canal Tradic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2334646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Crema Sunscreen Cosmetics No Spray Crema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3192688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Liquido Sunscreen Cosmetics No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6"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083457">
                  <a:extLst>
                    <a:ext uri="{9D8B030D-6E8A-4147-A177-3AD203B41FA5}">
                      <a16:colId xmlns:a16="http://schemas.microsoft.com/office/drawing/2014/main" val="2253286919"/>
                    </a:ext>
                  </a:extLst>
                </a:gridCol>
                <a:gridCol w="1083457">
                  <a:extLst>
                    <a:ext uri="{9D8B030D-6E8A-4147-A177-3AD203B41FA5}">
                      <a16:colId xmlns:a16="http://schemas.microsoft.com/office/drawing/2014/main" val="2739285047"/>
                    </a:ext>
                  </a:extLst>
                </a:gridCol>
                <a:gridCol w="1083457">
                  <a:extLst>
                    <a:ext uri="{9D8B030D-6E8A-4147-A177-3AD203B41FA5}">
                      <a16:colId xmlns:a16="http://schemas.microsoft.com/office/drawing/2014/main" val="686050863"/>
                    </a:ext>
                  </a:extLst>
                </a:gridCol>
                <a:gridCol w="1083457">
                  <a:extLst>
                    <a:ext uri="{9D8B030D-6E8A-4147-A177-3AD203B41FA5}">
                      <a16:colId xmlns:a16="http://schemas.microsoft.com/office/drawing/2014/main" val="3765127706"/>
                    </a:ext>
                  </a:extLst>
                </a:gridCol>
                <a:gridCol w="1083457">
                  <a:extLst>
                    <a:ext uri="{9D8B030D-6E8A-4147-A177-3AD203B41FA5}">
                      <a16:colId xmlns:a16="http://schemas.microsoft.com/office/drawing/2014/main" val="273303937"/>
                    </a:ext>
                  </a:extLst>
                </a:gridCol>
                <a:gridCol w="1083457">
                  <a:extLst>
                    <a:ext uri="{9D8B030D-6E8A-4147-A177-3AD203B41FA5}">
                      <a16:colId xmlns:a16="http://schemas.microsoft.com/office/drawing/2014/main" val="1190134658"/>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1442339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Liquido Sunscreen Cosmetics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625185">
                  <a:extLst>
                    <a:ext uri="{9D8B030D-6E8A-4147-A177-3AD203B41FA5}">
                      <a16:colId xmlns:a16="http://schemas.microsoft.com/office/drawing/2014/main" val="2253286919"/>
                    </a:ext>
                  </a:extLst>
                </a:gridCol>
                <a:gridCol w="1625185">
                  <a:extLst>
                    <a:ext uri="{9D8B030D-6E8A-4147-A177-3AD203B41FA5}">
                      <a16:colId xmlns:a16="http://schemas.microsoft.com/office/drawing/2014/main" val="2739285047"/>
                    </a:ext>
                  </a:extLst>
                </a:gridCol>
                <a:gridCol w="1625185">
                  <a:extLst>
                    <a:ext uri="{9D8B030D-6E8A-4147-A177-3AD203B41FA5}">
                      <a16:colId xmlns:a16="http://schemas.microsoft.com/office/drawing/2014/main" val="686050863"/>
                    </a:ext>
                  </a:extLst>
                </a:gridCol>
                <a:gridCol w="1625185">
                  <a:extLst>
                    <a:ext uri="{9D8B030D-6E8A-4147-A177-3AD203B41FA5}">
                      <a16:colId xmlns:a16="http://schemas.microsoft.com/office/drawing/2014/main" val="3765127706"/>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8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665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Sport Liquido Sunscreen Sport No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41699118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eauty Care Sunscreen Cosmetics Liquido Sunscreen Cosmetics No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592815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Sport Liquido Sunscreen Sport No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7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5619031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After Sun Cosmetics Gel After Sun Cosmetics No Spray Gel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4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6521048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Crema Sunscreen Cosmetics No Spray Crema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442711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iquido Sunscreen Cosmetics No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5431489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iquido Sunscreen Cosmetics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4893819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Locion Sunscreen Cosmetics No Spray Locion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300148">
                  <a:extLst>
                    <a:ext uri="{9D8B030D-6E8A-4147-A177-3AD203B41FA5}">
                      <a16:colId xmlns:a16="http://schemas.microsoft.com/office/drawing/2014/main" val="2253286919"/>
                    </a:ext>
                  </a:extLst>
                </a:gridCol>
                <a:gridCol w="1300148">
                  <a:extLst>
                    <a:ext uri="{9D8B030D-6E8A-4147-A177-3AD203B41FA5}">
                      <a16:colId xmlns:a16="http://schemas.microsoft.com/office/drawing/2014/main" val="2739285047"/>
                    </a:ext>
                  </a:extLst>
                </a:gridCol>
                <a:gridCol w="1300148">
                  <a:extLst>
                    <a:ext uri="{9D8B030D-6E8A-4147-A177-3AD203B41FA5}">
                      <a16:colId xmlns:a16="http://schemas.microsoft.com/office/drawing/2014/main" val="686050863"/>
                    </a:ext>
                  </a:extLst>
                </a:gridCol>
                <a:gridCol w="1300148">
                  <a:extLst>
                    <a:ext uri="{9D8B030D-6E8A-4147-A177-3AD203B41FA5}">
                      <a16:colId xmlns:a16="http://schemas.microsoft.com/office/drawing/2014/main" val="3765127706"/>
                    </a:ext>
                  </a:extLst>
                </a:gridCol>
                <a:gridCol w="1300148">
                  <a:extLst>
                    <a:ext uri="{9D8B030D-6E8A-4147-A177-3AD203B41FA5}">
                      <a16:colId xmlns:a16="http://schemas.microsoft.com/office/drawing/2014/main" val="27330393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42027158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osmetics Spray Sunscreen Cosmetics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967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1911501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Crema Sunscreen Sport No Spray Crema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6571922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Liquido Sunscreen Sport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7194718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ort Locion Sunscreen Sport No Spray Locion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8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583243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Crema Sunscreen Cosmetics No Spray Crema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15404848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Liquido Sunscreen Cosmetics No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60"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928678">
                  <a:extLst>
                    <a:ext uri="{9D8B030D-6E8A-4147-A177-3AD203B41FA5}">
                      <a16:colId xmlns:a16="http://schemas.microsoft.com/office/drawing/2014/main" val="2253286919"/>
                    </a:ext>
                  </a:extLst>
                </a:gridCol>
                <a:gridCol w="928678">
                  <a:extLst>
                    <a:ext uri="{9D8B030D-6E8A-4147-A177-3AD203B41FA5}">
                      <a16:colId xmlns:a16="http://schemas.microsoft.com/office/drawing/2014/main" val="2739285047"/>
                    </a:ext>
                  </a:extLst>
                </a:gridCol>
                <a:gridCol w="928678">
                  <a:extLst>
                    <a:ext uri="{9D8B030D-6E8A-4147-A177-3AD203B41FA5}">
                      <a16:colId xmlns:a16="http://schemas.microsoft.com/office/drawing/2014/main" val="686050863"/>
                    </a:ext>
                  </a:extLst>
                </a:gridCol>
                <a:gridCol w="928678">
                  <a:extLst>
                    <a:ext uri="{9D8B030D-6E8A-4147-A177-3AD203B41FA5}">
                      <a16:colId xmlns:a16="http://schemas.microsoft.com/office/drawing/2014/main" val="3765127706"/>
                    </a:ext>
                  </a:extLst>
                </a:gridCol>
                <a:gridCol w="928678">
                  <a:extLst>
                    <a:ext uri="{9D8B030D-6E8A-4147-A177-3AD203B41FA5}">
                      <a16:colId xmlns:a16="http://schemas.microsoft.com/office/drawing/2014/main" val="273303937"/>
                    </a:ext>
                  </a:extLst>
                </a:gridCol>
                <a:gridCol w="928678">
                  <a:extLst>
                    <a:ext uri="{9D8B030D-6E8A-4147-A177-3AD203B41FA5}">
                      <a16:colId xmlns:a16="http://schemas.microsoft.com/office/drawing/2014/main" val="1190134658"/>
                    </a:ext>
                  </a:extLst>
                </a:gridCol>
                <a:gridCol w="928678">
                  <a:extLst>
                    <a:ext uri="{9D8B030D-6E8A-4147-A177-3AD203B41FA5}">
                      <a16:colId xmlns:a16="http://schemas.microsoft.com/office/drawing/2014/main" val="1152288185"/>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3650465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osmetics Liquido Sunscreen Cosmetics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300148">
                  <a:extLst>
                    <a:ext uri="{9D8B030D-6E8A-4147-A177-3AD203B41FA5}">
                      <a16:colId xmlns:a16="http://schemas.microsoft.com/office/drawing/2014/main" val="2253286919"/>
                    </a:ext>
                  </a:extLst>
                </a:gridCol>
                <a:gridCol w="1300148">
                  <a:extLst>
                    <a:ext uri="{9D8B030D-6E8A-4147-A177-3AD203B41FA5}">
                      <a16:colId xmlns:a16="http://schemas.microsoft.com/office/drawing/2014/main" val="2739285047"/>
                    </a:ext>
                  </a:extLst>
                </a:gridCol>
                <a:gridCol w="1300148">
                  <a:extLst>
                    <a:ext uri="{9D8B030D-6E8A-4147-A177-3AD203B41FA5}">
                      <a16:colId xmlns:a16="http://schemas.microsoft.com/office/drawing/2014/main" val="686050863"/>
                    </a:ext>
                  </a:extLst>
                </a:gridCol>
                <a:gridCol w="1300148">
                  <a:extLst>
                    <a:ext uri="{9D8B030D-6E8A-4147-A177-3AD203B41FA5}">
                      <a16:colId xmlns:a16="http://schemas.microsoft.com/office/drawing/2014/main" val="3765127706"/>
                    </a:ext>
                  </a:extLst>
                </a:gridCol>
                <a:gridCol w="1300148">
                  <a:extLst>
                    <a:ext uri="{9D8B030D-6E8A-4147-A177-3AD203B41FA5}">
                      <a16:colId xmlns:a16="http://schemas.microsoft.com/office/drawing/2014/main" val="27330393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2200555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Sport Liquido Sunscreen Sport No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3/2025</a:t>
            </a:fld>
            <a:endParaRPr lang="en-US" sz="500"/>
          </a:p>
        </p:txBody>
      </p:sp>
    </p:spTree>
    <p:extLst>
      <p:ext uri="{BB962C8B-B14F-4D97-AF65-F5344CB8AC3E}">
        <p14:creationId xmlns:p14="http://schemas.microsoft.com/office/powerpoint/2010/main" val="42282221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9339</Words>
  <Application>Microsoft Office PowerPoint</Application>
  <PresentationFormat>On-screen Show (16:9)</PresentationFormat>
  <Paragraphs>4699</Paragraphs>
  <Slides>5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7"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3T09:2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